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tags/tag55.xml" ContentType="application/vnd.openxmlformats-officedocument.presentationml.tags+xml"/>
  <Override PartName="/ppt/notesSlides/notesSlide6.xml" ContentType="application/vnd.openxmlformats-officedocument.presentationml.notesSlide+xml"/>
  <Override PartName="/ppt/tags/tag56.xml" ContentType="application/vnd.openxmlformats-officedocument.presentationml.tags+xml"/>
  <Override PartName="/ppt/notesSlides/notesSlide7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tags/tag60.xml" ContentType="application/vnd.openxmlformats-officedocument.presentationml.tags+xml"/>
  <Override PartName="/ppt/notesSlides/notesSlide9.xml" ContentType="application/vnd.openxmlformats-officedocument.presentationml.notesSlide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63.xml" ContentType="application/vnd.openxmlformats-officedocument.presentationml.tags+xml"/>
  <Override PartName="/ppt/notesSlides/notesSlide12.xml" ContentType="application/vnd.openxmlformats-officedocument.presentationml.notesSlide+xml"/>
  <Override PartName="/ppt/tags/tag64.xml" ContentType="application/vnd.openxmlformats-officedocument.presentationml.tags+xml"/>
  <Override PartName="/ppt/notesSlides/notesSlide13.xml" ContentType="application/vnd.openxmlformats-officedocument.presentationml.notesSlide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ppt/tags/tag67.xml" ContentType="application/vnd.openxmlformats-officedocument.presentationml.tags+xml"/>
  <Override PartName="/ppt/notesSlides/notesSlide16.xml" ContentType="application/vnd.openxmlformats-officedocument.presentationml.notesSlide+xml"/>
  <Override PartName="/ppt/tags/tag68.xml" ContentType="application/vnd.openxmlformats-officedocument.presentationml.tags+xml"/>
  <Override PartName="/ppt/notesSlides/notesSlide1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</p:sldMasterIdLst>
  <p:notesMasterIdLst>
    <p:notesMasterId r:id="rId44"/>
  </p:notesMasterIdLst>
  <p:sldIdLst>
    <p:sldId id="257" r:id="rId6"/>
    <p:sldId id="3754" r:id="rId7"/>
    <p:sldId id="3782" r:id="rId8"/>
    <p:sldId id="2147473522" r:id="rId9"/>
    <p:sldId id="2147473523" r:id="rId10"/>
    <p:sldId id="2147473524" r:id="rId11"/>
    <p:sldId id="2147473514" r:id="rId12"/>
    <p:sldId id="2147473505" r:id="rId13"/>
    <p:sldId id="2147473509" r:id="rId14"/>
    <p:sldId id="2147473516" r:id="rId15"/>
    <p:sldId id="2147473511" r:id="rId16"/>
    <p:sldId id="2147473500" r:id="rId17"/>
    <p:sldId id="2147473528" r:id="rId18"/>
    <p:sldId id="2147473527" r:id="rId19"/>
    <p:sldId id="2147473513" r:id="rId20"/>
    <p:sldId id="2147473517" r:id="rId21"/>
    <p:sldId id="2147473525" r:id="rId22"/>
    <p:sldId id="2147473526" r:id="rId23"/>
    <p:sldId id="2147473518" r:id="rId24"/>
    <p:sldId id="2147473519" r:id="rId25"/>
    <p:sldId id="2147473520" r:id="rId26"/>
    <p:sldId id="336" r:id="rId27"/>
    <p:sldId id="2147473508" r:id="rId28"/>
    <p:sldId id="2147473512" r:id="rId29"/>
    <p:sldId id="2147473529" r:id="rId30"/>
    <p:sldId id="2147473530" r:id="rId31"/>
    <p:sldId id="2147473531" r:id="rId32"/>
    <p:sldId id="2147473532" r:id="rId33"/>
    <p:sldId id="2147473533" r:id="rId34"/>
    <p:sldId id="2147473534" r:id="rId35"/>
    <p:sldId id="2147473535" r:id="rId36"/>
    <p:sldId id="2147473536" r:id="rId37"/>
    <p:sldId id="2147473537" r:id="rId38"/>
    <p:sldId id="2147473538" r:id="rId39"/>
    <p:sldId id="2147473539" r:id="rId40"/>
    <p:sldId id="2145704679" r:id="rId41"/>
    <p:sldId id="2145704698" r:id="rId42"/>
    <p:sldId id="2147473510" r:id="rId43"/>
  </p:sldIdLst>
  <p:sldSz cx="12192000" cy="6858000"/>
  <p:notesSz cx="6858000" cy="9144000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B2082"/>
    <a:srgbClr val="F2F2F2"/>
    <a:srgbClr val="A6A6A6"/>
    <a:srgbClr val="D2D2D2"/>
    <a:srgbClr val="C8A5F0"/>
    <a:srgbClr val="D9D9D9"/>
    <a:srgbClr val="C3DDB7"/>
    <a:srgbClr val="D1E7F6"/>
    <a:srgbClr val="AF7DEB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66EF1E-9DBA-44BF-8772-77569FEE5D13}" v="1963" dt="2023-03-28T14:30:39.488"/>
    <p1510:client id="{A6372692-9B81-4B6A-85C1-38FF7E7F12E7}" v="842" dt="2023-03-28T14:30:52.9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9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heme" Target="theme/theme1.xml"/><Relationship Id="rId8" Type="http://schemas.openxmlformats.org/officeDocument/2006/relationships/slide" Target="slides/slide3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khanpal, Shrey" userId="7373a8cc-29fb-4cb8-9d2f-0bfa97e04ed5" providerId="ADAL" clId="{5666EF1E-9DBA-44BF-8772-77569FEE5D13}"/>
    <pc:docChg chg="undo custSel addSld modSld replTag">
      <pc:chgData name="Lakhanpal, Shrey" userId="7373a8cc-29fb-4cb8-9d2f-0bfa97e04ed5" providerId="ADAL" clId="{5666EF1E-9DBA-44BF-8772-77569FEE5D13}" dt="2023-03-28T14:30:39.488" v="2248" actId="1035"/>
      <pc:docMkLst>
        <pc:docMk/>
      </pc:docMkLst>
      <pc:sldChg chg="addSp modSp mod">
        <pc:chgData name="Lakhanpal, Shrey" userId="7373a8cc-29fb-4cb8-9d2f-0bfa97e04ed5" providerId="ADAL" clId="{5666EF1E-9DBA-44BF-8772-77569FEE5D13}" dt="2023-03-28T14:12:12.663" v="278" actId="1037"/>
        <pc:sldMkLst>
          <pc:docMk/>
          <pc:sldMk cId="1702267238" sldId="2147473505"/>
        </pc:sldMkLst>
        <pc:spChg chg="add mod">
          <ac:chgData name="Lakhanpal, Shrey" userId="7373a8cc-29fb-4cb8-9d2f-0bfa97e04ed5" providerId="ADAL" clId="{5666EF1E-9DBA-44BF-8772-77569FEE5D13}" dt="2023-03-28T14:11:08.379" v="269" actId="1076"/>
          <ac:spMkLst>
            <pc:docMk/>
            <pc:sldMk cId="1702267238" sldId="2147473505"/>
            <ac:spMk id="2" creationId="{99D3E0FB-80A6-A6CF-5F7E-9465633FD4C4}"/>
          </ac:spMkLst>
        </pc:spChg>
        <pc:spChg chg="add mod">
          <ac:chgData name="Lakhanpal, Shrey" userId="7373a8cc-29fb-4cb8-9d2f-0bfa97e04ed5" providerId="ADAL" clId="{5666EF1E-9DBA-44BF-8772-77569FEE5D13}" dt="2023-03-28T14:12:12.663" v="278" actId="1037"/>
          <ac:spMkLst>
            <pc:docMk/>
            <pc:sldMk cId="1702267238" sldId="2147473505"/>
            <ac:spMk id="3" creationId="{3CC99CBC-120C-4FAE-A735-979232A0CC62}"/>
          </ac:spMkLst>
        </pc:spChg>
        <pc:spChg chg="mod">
          <ac:chgData name="Lakhanpal, Shrey" userId="7373a8cc-29fb-4cb8-9d2f-0bfa97e04ed5" providerId="ADAL" clId="{5666EF1E-9DBA-44BF-8772-77569FEE5D13}" dt="2023-03-28T14:05:45.420" v="20" actId="1036"/>
          <ac:spMkLst>
            <pc:docMk/>
            <pc:sldMk cId="1702267238" sldId="2147473505"/>
            <ac:spMk id="55" creationId="{F88CB76C-ECE3-ABFA-92BC-8BF0E81C0715}"/>
          </ac:spMkLst>
        </pc:spChg>
        <pc:spChg chg="mod">
          <ac:chgData name="Lakhanpal, Shrey" userId="7373a8cc-29fb-4cb8-9d2f-0bfa97e04ed5" providerId="ADAL" clId="{5666EF1E-9DBA-44BF-8772-77569FEE5D13}" dt="2023-03-28T14:05:45.420" v="20" actId="1036"/>
          <ac:spMkLst>
            <pc:docMk/>
            <pc:sldMk cId="1702267238" sldId="2147473505"/>
            <ac:spMk id="61" creationId="{5CD0AA05-CD26-0E82-FBA6-80E98D78F9ED}"/>
          </ac:spMkLst>
        </pc:spChg>
        <pc:spChg chg="mod">
          <ac:chgData name="Lakhanpal, Shrey" userId="7373a8cc-29fb-4cb8-9d2f-0bfa97e04ed5" providerId="ADAL" clId="{5666EF1E-9DBA-44BF-8772-77569FEE5D13}" dt="2023-03-28T14:05:45.420" v="20" actId="1036"/>
          <ac:spMkLst>
            <pc:docMk/>
            <pc:sldMk cId="1702267238" sldId="2147473505"/>
            <ac:spMk id="257" creationId="{2F418579-94C5-6B69-183C-7BAD0B94F429}"/>
          </ac:spMkLst>
        </pc:spChg>
      </pc:sldChg>
      <pc:sldChg chg="addSp delSp modSp new add mod">
        <pc:chgData name="Lakhanpal, Shrey" userId="7373a8cc-29fb-4cb8-9d2f-0bfa97e04ed5" providerId="ADAL" clId="{5666EF1E-9DBA-44BF-8772-77569FEE5D13}" dt="2023-03-28T14:23:22.152" v="907" actId="12789"/>
        <pc:sldMkLst>
          <pc:docMk/>
          <pc:sldMk cId="3177886023" sldId="2147473529"/>
        </pc:sldMkLst>
        <pc:spChg chg="mod">
          <ac:chgData name="Lakhanpal, Shrey" userId="7373a8cc-29fb-4cb8-9d2f-0bfa97e04ed5" providerId="ADAL" clId="{5666EF1E-9DBA-44BF-8772-77569FEE5D13}" dt="2023-03-28T14:22:38.453" v="754" actId="948"/>
          <ac:spMkLst>
            <pc:docMk/>
            <pc:sldMk cId="3177886023" sldId="2147473529"/>
            <ac:spMk id="2" creationId="{234AABD6-27A8-55A7-D048-67A5FE8D5FB7}"/>
          </ac:spMkLst>
        </pc:spChg>
        <pc:spChg chg="del">
          <ac:chgData name="Lakhanpal, Shrey" userId="7373a8cc-29fb-4cb8-9d2f-0bfa97e04ed5" providerId="ADAL" clId="{5666EF1E-9DBA-44BF-8772-77569FEE5D13}" dt="2023-03-28T14:13:03.040" v="284" actId="478"/>
          <ac:spMkLst>
            <pc:docMk/>
            <pc:sldMk cId="3177886023" sldId="2147473529"/>
            <ac:spMk id="3" creationId="{91487E42-601F-F1F9-A31F-A675E3DA63DF}"/>
          </ac:spMkLst>
        </pc:spChg>
        <pc:spChg chg="mod">
          <ac:chgData name="Lakhanpal, Shrey" userId="7373a8cc-29fb-4cb8-9d2f-0bfa97e04ed5" providerId="ADAL" clId="{5666EF1E-9DBA-44BF-8772-77569FEE5D13}" dt="2023-03-28T14:23:13.265" v="901" actId="1076"/>
          <ac:spMkLst>
            <pc:docMk/>
            <pc:sldMk cId="3177886023" sldId="2147473529"/>
            <ac:spMk id="4" creationId="{D269A51A-E62A-4D11-32A2-F1F08F507B6F}"/>
          </ac:spMkLst>
        </pc:spChg>
        <pc:spChg chg="add del">
          <ac:chgData name="Lakhanpal, Shrey" userId="7373a8cc-29fb-4cb8-9d2f-0bfa97e04ed5" providerId="ADAL" clId="{5666EF1E-9DBA-44BF-8772-77569FEE5D13}" dt="2023-03-28T14:13:01.375" v="283" actId="22"/>
          <ac:spMkLst>
            <pc:docMk/>
            <pc:sldMk cId="3177886023" sldId="2147473529"/>
            <ac:spMk id="6" creationId="{71855C70-5DF2-DAC0-8516-BDDB56C0CF85}"/>
          </ac:spMkLst>
        </pc:spChg>
        <pc:spChg chg="add del">
          <ac:chgData name="Lakhanpal, Shrey" userId="7373a8cc-29fb-4cb8-9d2f-0bfa97e04ed5" providerId="ADAL" clId="{5666EF1E-9DBA-44BF-8772-77569FEE5D13}" dt="2023-03-28T14:13:04.729" v="287" actId="22"/>
          <ac:spMkLst>
            <pc:docMk/>
            <pc:sldMk cId="3177886023" sldId="2147473529"/>
            <ac:spMk id="8" creationId="{9250D25B-AAF9-8412-32C8-951559635688}"/>
          </ac:spMkLst>
        </pc:spChg>
        <pc:spChg chg="add del mod modVis">
          <ac:chgData name="Lakhanpal, Shrey" userId="7373a8cc-29fb-4cb8-9d2f-0bfa97e04ed5" providerId="ADAL" clId="{5666EF1E-9DBA-44BF-8772-77569FEE5D13}" dt="2023-03-28T14:21:56.170" v="383"/>
          <ac:spMkLst>
            <pc:docMk/>
            <pc:sldMk cId="3177886023" sldId="2147473529"/>
            <ac:spMk id="13" creationId="{595457D4-A46C-8149-3D8C-A5B19163BB1E}"/>
          </ac:spMkLst>
        </pc:spChg>
        <pc:spChg chg="add del mod modVis">
          <ac:chgData name="Lakhanpal, Shrey" userId="7373a8cc-29fb-4cb8-9d2f-0bfa97e04ed5" providerId="ADAL" clId="{5666EF1E-9DBA-44BF-8772-77569FEE5D13}" dt="2023-03-28T14:22:01.177" v="446"/>
          <ac:spMkLst>
            <pc:docMk/>
            <pc:sldMk cId="3177886023" sldId="2147473529"/>
            <ac:spMk id="14" creationId="{4F0807E6-1D3F-0ED8-6DF6-A2DE6A5D57F4}"/>
          </ac:spMkLst>
        </pc:spChg>
        <pc:spChg chg="add del mod modVis">
          <ac:chgData name="Lakhanpal, Shrey" userId="7373a8cc-29fb-4cb8-9d2f-0bfa97e04ed5" providerId="ADAL" clId="{5666EF1E-9DBA-44BF-8772-77569FEE5D13}" dt="2023-03-28T14:22:02.720" v="493"/>
          <ac:spMkLst>
            <pc:docMk/>
            <pc:sldMk cId="3177886023" sldId="2147473529"/>
            <ac:spMk id="15" creationId="{C4241B81-93E4-AC15-F783-4F01BF69321E}"/>
          </ac:spMkLst>
        </pc:spChg>
        <pc:spChg chg="add del mod modVis">
          <ac:chgData name="Lakhanpal, Shrey" userId="7373a8cc-29fb-4cb8-9d2f-0bfa97e04ed5" providerId="ADAL" clId="{5666EF1E-9DBA-44BF-8772-77569FEE5D13}" dt="2023-03-28T14:22:04.557" v="542"/>
          <ac:spMkLst>
            <pc:docMk/>
            <pc:sldMk cId="3177886023" sldId="2147473529"/>
            <ac:spMk id="16" creationId="{11AC9236-6E99-4437-CCD8-DC5F95A50AA2}"/>
          </ac:spMkLst>
        </pc:spChg>
        <pc:spChg chg="add del mod modVis">
          <ac:chgData name="Lakhanpal, Shrey" userId="7373a8cc-29fb-4cb8-9d2f-0bfa97e04ed5" providerId="ADAL" clId="{5666EF1E-9DBA-44BF-8772-77569FEE5D13}" dt="2023-03-28T14:22:06.536" v="590"/>
          <ac:spMkLst>
            <pc:docMk/>
            <pc:sldMk cId="3177886023" sldId="2147473529"/>
            <ac:spMk id="17" creationId="{02452C06-08B8-931C-F9DB-E9CD65138D23}"/>
          </ac:spMkLst>
        </pc:spChg>
        <pc:spChg chg="add del mod modVis">
          <ac:chgData name="Lakhanpal, Shrey" userId="7373a8cc-29fb-4cb8-9d2f-0bfa97e04ed5" providerId="ADAL" clId="{5666EF1E-9DBA-44BF-8772-77569FEE5D13}" dt="2023-03-28T14:22:08.592" v="639"/>
          <ac:spMkLst>
            <pc:docMk/>
            <pc:sldMk cId="3177886023" sldId="2147473529"/>
            <ac:spMk id="18" creationId="{D2105769-CBFD-64AD-03B9-CB3371FE8668}"/>
          </ac:spMkLst>
        </pc:spChg>
        <pc:spChg chg="add del mod modVis">
          <ac:chgData name="Lakhanpal, Shrey" userId="7373a8cc-29fb-4cb8-9d2f-0bfa97e04ed5" providerId="ADAL" clId="{5666EF1E-9DBA-44BF-8772-77569FEE5D13}" dt="2023-03-28T14:22:12.202" v="691"/>
          <ac:spMkLst>
            <pc:docMk/>
            <pc:sldMk cId="3177886023" sldId="2147473529"/>
            <ac:spMk id="19" creationId="{38FD4A7B-4DFA-0ABD-EE1C-F7F750CDD8F6}"/>
          </ac:spMkLst>
        </pc:spChg>
        <pc:spChg chg="add del mod modVis">
          <ac:chgData name="Lakhanpal, Shrey" userId="7373a8cc-29fb-4cb8-9d2f-0bfa97e04ed5" providerId="ADAL" clId="{5666EF1E-9DBA-44BF-8772-77569FEE5D13}" dt="2023-03-28T14:22:37.386" v="748"/>
          <ac:spMkLst>
            <pc:docMk/>
            <pc:sldMk cId="3177886023" sldId="2147473529"/>
            <ac:spMk id="20" creationId="{C893231B-4BC4-4A4A-43E5-75769265B148}"/>
          </ac:spMkLst>
        </pc:spChg>
        <pc:spChg chg="add del mod modVis">
          <ac:chgData name="Lakhanpal, Shrey" userId="7373a8cc-29fb-4cb8-9d2f-0bfa97e04ed5" providerId="ADAL" clId="{5666EF1E-9DBA-44BF-8772-77569FEE5D13}" dt="2023-03-28T14:22:38.487" v="795"/>
          <ac:spMkLst>
            <pc:docMk/>
            <pc:sldMk cId="3177886023" sldId="2147473529"/>
            <ac:spMk id="21" creationId="{07ACD8BA-5328-34FB-3ADA-18CADBD6E552}"/>
          </ac:spMkLst>
        </pc:spChg>
        <pc:graphicFrameChg chg="add del mod modGraphic">
          <ac:chgData name="Lakhanpal, Shrey" userId="7373a8cc-29fb-4cb8-9d2f-0bfa97e04ed5" providerId="ADAL" clId="{5666EF1E-9DBA-44BF-8772-77569FEE5D13}" dt="2023-03-28T14:21:42.135" v="309" actId="478"/>
          <ac:graphicFrameMkLst>
            <pc:docMk/>
            <pc:sldMk cId="3177886023" sldId="2147473529"/>
            <ac:graphicFrameMk id="9" creationId="{E798A7C5-F992-515B-275A-A5B0BBB43887}"/>
          </ac:graphicFrameMkLst>
        </pc:graphicFrameChg>
        <pc:graphicFrameChg chg="add mod ord modVis replST">
          <ac:chgData name="Lakhanpal, Shrey" userId="7373a8cc-29fb-4cb8-9d2f-0bfa97e04ed5" providerId="ADAL" clId="{5666EF1E-9DBA-44BF-8772-77569FEE5D13}" dt="2023-03-28T14:22:38.487" v="797"/>
          <ac:graphicFrameMkLst>
            <pc:docMk/>
            <pc:sldMk cId="3177886023" sldId="2147473529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23:22.152" v="907" actId="12789"/>
          <ac:picMkLst>
            <pc:docMk/>
            <pc:sldMk cId="3177886023" sldId="2147473529"/>
            <ac:picMk id="11" creationId="{AB409DD4-75F9-C0B7-83D0-5A58A21E7091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3:25.087" v="908" actId="12788"/>
        <pc:sldMkLst>
          <pc:docMk/>
          <pc:sldMk cId="1293565264" sldId="2147473530"/>
        </pc:sldMkLst>
        <pc:spChg chg="mod">
          <ac:chgData name="Lakhanpal, Shrey" userId="7373a8cc-29fb-4cb8-9d2f-0bfa97e04ed5" providerId="ADAL" clId="{5666EF1E-9DBA-44BF-8772-77569FEE5D13}" dt="2023-03-28T14:22:47.422" v="852" actId="948"/>
          <ac:spMkLst>
            <pc:docMk/>
            <pc:sldMk cId="1293565264" sldId="2147473530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2:46.408" v="848"/>
          <ac:spMkLst>
            <pc:docMk/>
            <pc:sldMk cId="1293565264" sldId="2147473530"/>
            <ac:spMk id="3" creationId="{A014A62C-4CA3-A5B4-9B2C-078C6A234F76}"/>
          </ac:spMkLst>
        </pc:spChg>
        <pc:spChg chg="add del mod modVis">
          <ac:chgData name="Lakhanpal, Shrey" userId="7373a8cc-29fb-4cb8-9d2f-0bfa97e04ed5" providerId="ADAL" clId="{5666EF1E-9DBA-44BF-8772-77569FEE5D13}" dt="2023-03-28T14:22:47.445" v="893"/>
          <ac:spMkLst>
            <pc:docMk/>
            <pc:sldMk cId="1293565264" sldId="2147473530"/>
            <ac:spMk id="5" creationId="{AF6BBD81-A8B6-DB49-765D-A50D1DEBD0ED}"/>
          </ac:spMkLst>
        </pc:spChg>
        <pc:graphicFrameChg chg="mod">
          <ac:chgData name="Lakhanpal, Shrey" userId="7373a8cc-29fb-4cb8-9d2f-0bfa97e04ed5" providerId="ADAL" clId="{5666EF1E-9DBA-44BF-8772-77569FEE5D13}" dt="2023-03-28T14:22:47.445" v="895"/>
          <ac:graphicFrameMkLst>
            <pc:docMk/>
            <pc:sldMk cId="1293565264" sldId="2147473530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23:25.087" v="908" actId="12788"/>
          <ac:picMkLst>
            <pc:docMk/>
            <pc:sldMk cId="1293565264" sldId="2147473530"/>
            <ac:picMk id="7" creationId="{CC2FCEBB-1482-57FD-F65B-5DF44C2D4F7F}"/>
          </ac:picMkLst>
        </pc:picChg>
        <pc:picChg chg="del">
          <ac:chgData name="Lakhanpal, Shrey" userId="7373a8cc-29fb-4cb8-9d2f-0bfa97e04ed5" providerId="ADAL" clId="{5666EF1E-9DBA-44BF-8772-77569FEE5D13}" dt="2023-03-28T14:22:26.480" v="703" actId="478"/>
          <ac:picMkLst>
            <pc:docMk/>
            <pc:sldMk cId="1293565264" sldId="2147473530"/>
            <ac:picMk id="11" creationId="{AB409DD4-75F9-C0B7-83D0-5A58A21E7091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4:04.055" v="965" actId="12788"/>
        <pc:sldMkLst>
          <pc:docMk/>
          <pc:sldMk cId="2034058126" sldId="2147473531"/>
        </pc:sldMkLst>
        <pc:spChg chg="mod">
          <ac:chgData name="Lakhanpal, Shrey" userId="7373a8cc-29fb-4cb8-9d2f-0bfa97e04ed5" providerId="ADAL" clId="{5666EF1E-9DBA-44BF-8772-77569FEE5D13}" dt="2023-03-28T14:23:32.268" v="915" actId="948"/>
          <ac:spMkLst>
            <pc:docMk/>
            <pc:sldMk cId="2034058126" sldId="2147473531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3:32.351" v="956"/>
          <ac:spMkLst>
            <pc:docMk/>
            <pc:sldMk cId="2034058126" sldId="2147473531"/>
            <ac:spMk id="3" creationId="{27FB67FE-5A14-38D5-48AF-D1689CB22A55}"/>
          </ac:spMkLst>
        </pc:spChg>
        <pc:graphicFrameChg chg="mod">
          <ac:chgData name="Lakhanpal, Shrey" userId="7373a8cc-29fb-4cb8-9d2f-0bfa97e04ed5" providerId="ADAL" clId="{5666EF1E-9DBA-44BF-8772-77569FEE5D13}" dt="2023-03-28T14:23:32.357" v="958"/>
          <ac:graphicFrameMkLst>
            <pc:docMk/>
            <pc:sldMk cId="2034058126" sldId="2147473531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24:04.055" v="965" actId="12788"/>
          <ac:picMkLst>
            <pc:docMk/>
            <pc:sldMk cId="2034058126" sldId="2147473531"/>
            <ac:picMk id="6" creationId="{649A6AC8-1406-D768-885A-AC60FE5EB254}"/>
          </ac:picMkLst>
        </pc:picChg>
        <pc:picChg chg="del mod">
          <ac:chgData name="Lakhanpal, Shrey" userId="7373a8cc-29fb-4cb8-9d2f-0bfa97e04ed5" providerId="ADAL" clId="{5666EF1E-9DBA-44BF-8772-77569FEE5D13}" dt="2023-03-28T14:23:33.301" v="960" actId="478"/>
          <ac:picMkLst>
            <pc:docMk/>
            <pc:sldMk cId="2034058126" sldId="2147473531"/>
            <ac:picMk id="7" creationId="{CC2FCEBB-1482-57FD-F65B-5DF44C2D4F7F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8:02.096" v="1630"/>
        <pc:sldMkLst>
          <pc:docMk/>
          <pc:sldMk cId="688754516" sldId="2147473532"/>
        </pc:sldMkLst>
        <pc:spChg chg="mod">
          <ac:chgData name="Lakhanpal, Shrey" userId="7373a8cc-29fb-4cb8-9d2f-0bfa97e04ed5" providerId="ADAL" clId="{5666EF1E-9DBA-44BF-8772-77569FEE5D13}" dt="2023-03-28T14:28:02.053" v="1587" actId="948"/>
          <ac:spMkLst>
            <pc:docMk/>
            <pc:sldMk cId="688754516" sldId="2147473532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4:15.149" v="1010"/>
          <ac:spMkLst>
            <pc:docMk/>
            <pc:sldMk cId="688754516" sldId="2147473532"/>
            <ac:spMk id="3" creationId="{29A310F1-31FB-EE5B-C88A-E495BFBA4A4C}"/>
          </ac:spMkLst>
        </pc:spChg>
        <pc:spChg chg="add del mod modVis">
          <ac:chgData name="Lakhanpal, Shrey" userId="7373a8cc-29fb-4cb8-9d2f-0bfa97e04ed5" providerId="ADAL" clId="{5666EF1E-9DBA-44BF-8772-77569FEE5D13}" dt="2023-03-28T14:24:16.909" v="1055"/>
          <ac:spMkLst>
            <pc:docMk/>
            <pc:sldMk cId="688754516" sldId="2147473532"/>
            <ac:spMk id="5" creationId="{61348E37-46F1-C30A-37FA-C09B58D2DB96}"/>
          </ac:spMkLst>
        </pc:spChg>
        <pc:spChg chg="add del mod modVis">
          <ac:chgData name="Lakhanpal, Shrey" userId="7373a8cc-29fb-4cb8-9d2f-0bfa97e04ed5" providerId="ADAL" clId="{5666EF1E-9DBA-44BF-8772-77569FEE5D13}" dt="2023-03-28T14:28:02.089" v="1628"/>
          <ac:spMkLst>
            <pc:docMk/>
            <pc:sldMk cId="688754516" sldId="2147473532"/>
            <ac:spMk id="9" creationId="{7815B545-30F8-FC4D-23B8-AB1B6293FDCC}"/>
          </ac:spMkLst>
        </pc:spChg>
        <pc:graphicFrameChg chg="mod">
          <ac:chgData name="Lakhanpal, Shrey" userId="7373a8cc-29fb-4cb8-9d2f-0bfa97e04ed5" providerId="ADAL" clId="{5666EF1E-9DBA-44BF-8772-77569FEE5D13}" dt="2023-03-28T14:28:02.096" v="1630"/>
          <ac:graphicFrameMkLst>
            <pc:docMk/>
            <pc:sldMk cId="688754516" sldId="2147473532"/>
            <ac:graphicFrameMk id="12" creationId="{E08B7F05-A2FC-144D-5C2B-FD1465BD88C1}"/>
          </ac:graphicFrameMkLst>
        </pc:graphicFrameChg>
        <pc:picChg chg="del mod">
          <ac:chgData name="Lakhanpal, Shrey" userId="7373a8cc-29fb-4cb8-9d2f-0bfa97e04ed5" providerId="ADAL" clId="{5666EF1E-9DBA-44BF-8772-77569FEE5D13}" dt="2023-03-28T14:24:40.154" v="1069" actId="478"/>
          <ac:picMkLst>
            <pc:docMk/>
            <pc:sldMk cId="688754516" sldId="2147473532"/>
            <ac:picMk id="6" creationId="{649A6AC8-1406-D768-885A-AC60FE5EB254}"/>
          </ac:picMkLst>
        </pc:picChg>
        <pc:picChg chg="add mod">
          <ac:chgData name="Lakhanpal, Shrey" userId="7373a8cc-29fb-4cb8-9d2f-0bfa97e04ed5" providerId="ADAL" clId="{5666EF1E-9DBA-44BF-8772-77569FEE5D13}" dt="2023-03-28T14:24:46.825" v="1077" actId="1036"/>
          <ac:picMkLst>
            <pc:docMk/>
            <pc:sldMk cId="688754516" sldId="2147473532"/>
            <ac:picMk id="8" creationId="{430C4402-F20D-B7B1-B26C-B4B86B0AB7C2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7:57.663" v="1584"/>
        <pc:sldMkLst>
          <pc:docMk/>
          <pc:sldMk cId="959352707" sldId="2147473533"/>
        </pc:sldMkLst>
        <pc:spChg chg="mod">
          <ac:chgData name="Lakhanpal, Shrey" userId="7373a8cc-29fb-4cb8-9d2f-0bfa97e04ed5" providerId="ADAL" clId="{5666EF1E-9DBA-44BF-8772-77569FEE5D13}" dt="2023-03-28T14:27:57.589" v="1541" actId="948"/>
          <ac:spMkLst>
            <pc:docMk/>
            <pc:sldMk cId="959352707" sldId="2147473533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4:57.467" v="1123"/>
          <ac:spMkLst>
            <pc:docMk/>
            <pc:sldMk cId="959352707" sldId="2147473533"/>
            <ac:spMk id="3" creationId="{85BA86BA-7DC4-EB5A-21C5-6E83626F9C33}"/>
          </ac:spMkLst>
        </pc:spChg>
        <pc:spChg chg="add del mod modVis">
          <ac:chgData name="Lakhanpal, Shrey" userId="7373a8cc-29fb-4cb8-9d2f-0bfa97e04ed5" providerId="ADAL" clId="{5666EF1E-9DBA-44BF-8772-77569FEE5D13}" dt="2023-03-28T14:27:56.833" v="1536"/>
          <ac:spMkLst>
            <pc:docMk/>
            <pc:sldMk cId="959352707" sldId="2147473533"/>
            <ac:spMk id="7" creationId="{FAE06C9C-B193-8F64-0AA1-C9392C44CC62}"/>
          </ac:spMkLst>
        </pc:spChg>
        <pc:spChg chg="add del mod modVis">
          <ac:chgData name="Lakhanpal, Shrey" userId="7373a8cc-29fb-4cb8-9d2f-0bfa97e04ed5" providerId="ADAL" clId="{5666EF1E-9DBA-44BF-8772-77569FEE5D13}" dt="2023-03-28T14:27:57.661" v="1582"/>
          <ac:spMkLst>
            <pc:docMk/>
            <pc:sldMk cId="959352707" sldId="2147473533"/>
            <ac:spMk id="9" creationId="{18F7C0B1-614C-0F1A-6FB0-1C60E14A3FDD}"/>
          </ac:spMkLst>
        </pc:spChg>
        <pc:graphicFrameChg chg="mod">
          <ac:chgData name="Lakhanpal, Shrey" userId="7373a8cc-29fb-4cb8-9d2f-0bfa97e04ed5" providerId="ADAL" clId="{5666EF1E-9DBA-44BF-8772-77569FEE5D13}" dt="2023-03-28T14:27:57.663" v="1584"/>
          <ac:graphicFrameMkLst>
            <pc:docMk/>
            <pc:sldMk cId="959352707" sldId="2147473533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25:21.867" v="1134" actId="12788"/>
          <ac:picMkLst>
            <pc:docMk/>
            <pc:sldMk cId="959352707" sldId="2147473533"/>
            <ac:picMk id="6" creationId="{80A88C0D-6528-5A5A-B4AB-384F208614D1}"/>
          </ac:picMkLst>
        </pc:picChg>
        <pc:picChg chg="del">
          <ac:chgData name="Lakhanpal, Shrey" userId="7373a8cc-29fb-4cb8-9d2f-0bfa97e04ed5" providerId="ADAL" clId="{5666EF1E-9DBA-44BF-8772-77569FEE5D13}" dt="2023-03-28T14:25:10.769" v="1126" actId="478"/>
          <ac:picMkLst>
            <pc:docMk/>
            <pc:sldMk cId="959352707" sldId="2147473533"/>
            <ac:picMk id="8" creationId="{430C4402-F20D-B7B1-B26C-B4B86B0AB7C2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7:53.533" v="1492"/>
        <pc:sldMkLst>
          <pc:docMk/>
          <pc:sldMk cId="1564621393" sldId="2147473534"/>
        </pc:sldMkLst>
        <pc:spChg chg="mod">
          <ac:chgData name="Lakhanpal, Shrey" userId="7373a8cc-29fb-4cb8-9d2f-0bfa97e04ed5" providerId="ADAL" clId="{5666EF1E-9DBA-44BF-8772-77569FEE5D13}" dt="2023-03-28T14:27:53.501" v="1449" actId="948"/>
          <ac:spMkLst>
            <pc:docMk/>
            <pc:sldMk cId="1564621393" sldId="2147473534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5:29.154" v="1180"/>
          <ac:spMkLst>
            <pc:docMk/>
            <pc:sldMk cId="1564621393" sldId="2147473534"/>
            <ac:spMk id="3" creationId="{92E4BDF1-151E-94B9-55AC-E09D5BE54C00}"/>
          </ac:spMkLst>
        </pc:spChg>
        <pc:spChg chg="add del mod modVis">
          <ac:chgData name="Lakhanpal, Shrey" userId="7373a8cc-29fb-4cb8-9d2f-0bfa97e04ed5" providerId="ADAL" clId="{5666EF1E-9DBA-44BF-8772-77569FEE5D13}" dt="2023-03-28T14:27:53.517" v="1490"/>
          <ac:spMkLst>
            <pc:docMk/>
            <pc:sldMk cId="1564621393" sldId="2147473534"/>
            <ac:spMk id="8" creationId="{4CA60E74-7CF8-7267-5FDE-9DC86ED77D55}"/>
          </ac:spMkLst>
        </pc:spChg>
        <pc:graphicFrameChg chg="mod">
          <ac:chgData name="Lakhanpal, Shrey" userId="7373a8cc-29fb-4cb8-9d2f-0bfa97e04ed5" providerId="ADAL" clId="{5666EF1E-9DBA-44BF-8772-77569FEE5D13}" dt="2023-03-28T14:27:53.533" v="1492"/>
          <ac:graphicFrameMkLst>
            <pc:docMk/>
            <pc:sldMk cId="1564621393" sldId="2147473534"/>
            <ac:graphicFrameMk id="12" creationId="{E08B7F05-A2FC-144D-5C2B-FD1465BD88C1}"/>
          </ac:graphicFrameMkLst>
        </pc:graphicFrameChg>
        <pc:picChg chg="del">
          <ac:chgData name="Lakhanpal, Shrey" userId="7373a8cc-29fb-4cb8-9d2f-0bfa97e04ed5" providerId="ADAL" clId="{5666EF1E-9DBA-44BF-8772-77569FEE5D13}" dt="2023-03-28T14:25:45.498" v="1185" actId="478"/>
          <ac:picMkLst>
            <pc:docMk/>
            <pc:sldMk cId="1564621393" sldId="2147473534"/>
            <ac:picMk id="6" creationId="{80A88C0D-6528-5A5A-B4AB-384F208614D1}"/>
          </ac:picMkLst>
        </pc:picChg>
        <pc:picChg chg="add mod">
          <ac:chgData name="Lakhanpal, Shrey" userId="7373a8cc-29fb-4cb8-9d2f-0bfa97e04ed5" providerId="ADAL" clId="{5666EF1E-9DBA-44BF-8772-77569FEE5D13}" dt="2023-03-28T14:25:53.051" v="1188" actId="12788"/>
          <ac:picMkLst>
            <pc:docMk/>
            <pc:sldMk cId="1564621393" sldId="2147473534"/>
            <ac:picMk id="7" creationId="{DAC8EEFF-C1BF-DA24-B6A7-AD816BA8C223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7:47.830" v="1446"/>
        <pc:sldMkLst>
          <pc:docMk/>
          <pc:sldMk cId="715824019" sldId="2147473535"/>
        </pc:sldMkLst>
        <pc:spChg chg="mod">
          <ac:chgData name="Lakhanpal, Shrey" userId="7373a8cc-29fb-4cb8-9d2f-0bfa97e04ed5" providerId="ADAL" clId="{5666EF1E-9DBA-44BF-8772-77569FEE5D13}" dt="2023-03-28T14:27:47.795" v="1403" actId="948"/>
          <ac:spMkLst>
            <pc:docMk/>
            <pc:sldMk cId="715824019" sldId="2147473535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6:04.045" v="1234"/>
          <ac:spMkLst>
            <pc:docMk/>
            <pc:sldMk cId="715824019" sldId="2147473535"/>
            <ac:spMk id="3" creationId="{06BF1E0E-EFD1-44F4-6DD6-BBC1CF9334F6}"/>
          </ac:spMkLst>
        </pc:spChg>
        <pc:spChg chg="add del mod modVis">
          <ac:chgData name="Lakhanpal, Shrey" userId="7373a8cc-29fb-4cb8-9d2f-0bfa97e04ed5" providerId="ADAL" clId="{5666EF1E-9DBA-44BF-8772-77569FEE5D13}" dt="2023-03-28T14:27:47.284" v="1399"/>
          <ac:spMkLst>
            <pc:docMk/>
            <pc:sldMk cId="715824019" sldId="2147473535"/>
            <ac:spMk id="8" creationId="{81001355-0696-D3FC-BF42-8FE3FE7842F5}"/>
          </ac:spMkLst>
        </pc:spChg>
        <pc:spChg chg="add del mod modVis">
          <ac:chgData name="Lakhanpal, Shrey" userId="7373a8cc-29fb-4cb8-9d2f-0bfa97e04ed5" providerId="ADAL" clId="{5666EF1E-9DBA-44BF-8772-77569FEE5D13}" dt="2023-03-28T14:27:47.830" v="1444"/>
          <ac:spMkLst>
            <pc:docMk/>
            <pc:sldMk cId="715824019" sldId="2147473535"/>
            <ac:spMk id="9" creationId="{EE728906-31D6-BE8E-1100-573BFDA9EF5D}"/>
          </ac:spMkLst>
        </pc:spChg>
        <pc:graphicFrameChg chg="mod">
          <ac:chgData name="Lakhanpal, Shrey" userId="7373a8cc-29fb-4cb8-9d2f-0bfa97e04ed5" providerId="ADAL" clId="{5666EF1E-9DBA-44BF-8772-77569FEE5D13}" dt="2023-03-28T14:27:47.830" v="1446"/>
          <ac:graphicFrameMkLst>
            <pc:docMk/>
            <pc:sldMk cId="715824019" sldId="2147473535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26:39.830" v="1245" actId="14100"/>
          <ac:picMkLst>
            <pc:docMk/>
            <pc:sldMk cId="715824019" sldId="2147473535"/>
            <ac:picMk id="6" creationId="{441AF5CD-07ED-41B0-0E79-9074D496C195}"/>
          </ac:picMkLst>
        </pc:picChg>
        <pc:picChg chg="del">
          <ac:chgData name="Lakhanpal, Shrey" userId="7373a8cc-29fb-4cb8-9d2f-0bfa97e04ed5" providerId="ADAL" clId="{5666EF1E-9DBA-44BF-8772-77569FEE5D13}" dt="2023-03-28T14:26:23.980" v="1237" actId="478"/>
          <ac:picMkLst>
            <pc:docMk/>
            <pc:sldMk cId="715824019" sldId="2147473535"/>
            <ac:picMk id="7" creationId="{DAC8EEFF-C1BF-DA24-B6A7-AD816BA8C223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7:28.600" v="1356" actId="1035"/>
        <pc:sldMkLst>
          <pc:docMk/>
          <pc:sldMk cId="3092398035" sldId="2147473536"/>
        </pc:sldMkLst>
        <pc:spChg chg="mod">
          <ac:chgData name="Lakhanpal, Shrey" userId="7373a8cc-29fb-4cb8-9d2f-0bfa97e04ed5" providerId="ADAL" clId="{5666EF1E-9DBA-44BF-8772-77569FEE5D13}" dt="2023-03-28T14:26:47.010" v="1296" actId="948"/>
          <ac:spMkLst>
            <pc:docMk/>
            <pc:sldMk cId="3092398035" sldId="2147473536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6:45.568" v="1291"/>
          <ac:spMkLst>
            <pc:docMk/>
            <pc:sldMk cId="3092398035" sldId="2147473536"/>
            <ac:spMk id="3" creationId="{0045C377-2498-0355-9374-09A2CE6ABF2B}"/>
          </ac:spMkLst>
        </pc:spChg>
        <pc:spChg chg="add del mod modVis">
          <ac:chgData name="Lakhanpal, Shrey" userId="7373a8cc-29fb-4cb8-9d2f-0bfa97e04ed5" providerId="ADAL" clId="{5666EF1E-9DBA-44BF-8772-77569FEE5D13}" dt="2023-03-28T14:26:47.043" v="1337"/>
          <ac:spMkLst>
            <pc:docMk/>
            <pc:sldMk cId="3092398035" sldId="2147473536"/>
            <ac:spMk id="5" creationId="{D74A968C-3E6F-805D-FB09-305A1CBE8459}"/>
          </ac:spMkLst>
        </pc:spChg>
        <pc:graphicFrameChg chg="mod">
          <ac:chgData name="Lakhanpal, Shrey" userId="7373a8cc-29fb-4cb8-9d2f-0bfa97e04ed5" providerId="ADAL" clId="{5666EF1E-9DBA-44BF-8772-77569FEE5D13}" dt="2023-03-28T14:26:47.079" v="1339"/>
          <ac:graphicFrameMkLst>
            <pc:docMk/>
            <pc:sldMk cId="3092398035" sldId="2147473536"/>
            <ac:graphicFrameMk id="12" creationId="{E08B7F05-A2FC-144D-5C2B-FD1465BD88C1}"/>
          </ac:graphicFrameMkLst>
        </pc:graphicFrameChg>
        <pc:picChg chg="del">
          <ac:chgData name="Lakhanpal, Shrey" userId="7373a8cc-29fb-4cb8-9d2f-0bfa97e04ed5" providerId="ADAL" clId="{5666EF1E-9DBA-44BF-8772-77569FEE5D13}" dt="2023-03-28T14:26:48.615" v="1340" actId="478"/>
          <ac:picMkLst>
            <pc:docMk/>
            <pc:sldMk cId="3092398035" sldId="2147473536"/>
            <ac:picMk id="6" creationId="{441AF5CD-07ED-41B0-0E79-9074D496C195}"/>
          </ac:picMkLst>
        </pc:picChg>
        <pc:picChg chg="add mod modCrop">
          <ac:chgData name="Lakhanpal, Shrey" userId="7373a8cc-29fb-4cb8-9d2f-0bfa97e04ed5" providerId="ADAL" clId="{5666EF1E-9DBA-44BF-8772-77569FEE5D13}" dt="2023-03-28T14:27:28.600" v="1356" actId="1035"/>
          <ac:picMkLst>
            <pc:docMk/>
            <pc:sldMk cId="3092398035" sldId="2147473536"/>
            <ac:picMk id="8" creationId="{59F5DE78-F37C-38E7-2F5C-A4ECE7129C41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29:42.405" v="2226" actId="732"/>
        <pc:sldMkLst>
          <pc:docMk/>
          <pc:sldMk cId="3374222502" sldId="2147473537"/>
        </pc:sldMkLst>
        <pc:spChg chg="mod">
          <ac:chgData name="Lakhanpal, Shrey" userId="7373a8cc-29fb-4cb8-9d2f-0bfa97e04ed5" providerId="ADAL" clId="{5666EF1E-9DBA-44BF-8772-77569FEE5D13}" dt="2023-03-28T14:28:50.781" v="2067" actId="948"/>
          <ac:spMkLst>
            <pc:docMk/>
            <pc:sldMk cId="3374222502" sldId="2147473537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8:14.215" v="1679"/>
          <ac:spMkLst>
            <pc:docMk/>
            <pc:sldMk cId="3374222502" sldId="2147473537"/>
            <ac:spMk id="3" creationId="{96607F64-D40E-4435-987F-CBB65CD91383}"/>
          </ac:spMkLst>
        </pc:spChg>
        <pc:spChg chg="add del mod modVis">
          <ac:chgData name="Lakhanpal, Shrey" userId="7373a8cc-29fb-4cb8-9d2f-0bfa97e04ed5" providerId="ADAL" clId="{5666EF1E-9DBA-44BF-8772-77569FEE5D13}" dt="2023-03-28T14:28:15.727" v="1727"/>
          <ac:spMkLst>
            <pc:docMk/>
            <pc:sldMk cId="3374222502" sldId="2147473537"/>
            <ac:spMk id="5" creationId="{78B90A85-69D7-3D55-5072-3F083101B28E}"/>
          </ac:spMkLst>
        </pc:spChg>
        <pc:spChg chg="add del mod modVis">
          <ac:chgData name="Lakhanpal, Shrey" userId="7373a8cc-29fb-4cb8-9d2f-0bfa97e04ed5" providerId="ADAL" clId="{5666EF1E-9DBA-44BF-8772-77569FEE5D13}" dt="2023-03-28T14:28:18.915" v="1772"/>
          <ac:spMkLst>
            <pc:docMk/>
            <pc:sldMk cId="3374222502" sldId="2147473537"/>
            <ac:spMk id="6" creationId="{9239EF7C-1745-C3D5-841C-85B2482E708C}"/>
          </ac:spMkLst>
        </pc:spChg>
        <pc:spChg chg="add del mod modVis">
          <ac:chgData name="Lakhanpal, Shrey" userId="7373a8cc-29fb-4cb8-9d2f-0bfa97e04ed5" providerId="ADAL" clId="{5666EF1E-9DBA-44BF-8772-77569FEE5D13}" dt="2023-03-28T14:28:19.965" v="1819"/>
          <ac:spMkLst>
            <pc:docMk/>
            <pc:sldMk cId="3374222502" sldId="2147473537"/>
            <ac:spMk id="7" creationId="{7A12687D-6A5E-98A7-4B96-2A5052DC3B14}"/>
          </ac:spMkLst>
        </pc:spChg>
        <pc:spChg chg="add del mod modVis">
          <ac:chgData name="Lakhanpal, Shrey" userId="7373a8cc-29fb-4cb8-9d2f-0bfa97e04ed5" providerId="ADAL" clId="{5666EF1E-9DBA-44BF-8772-77569FEE5D13}" dt="2023-03-28T14:28:20.985" v="1864"/>
          <ac:spMkLst>
            <pc:docMk/>
            <pc:sldMk cId="3374222502" sldId="2147473537"/>
            <ac:spMk id="9" creationId="{B9DCDA09-BCF9-BE0B-D5AF-BB656ABA45C6}"/>
          </ac:spMkLst>
        </pc:spChg>
        <pc:spChg chg="add del mod modVis">
          <ac:chgData name="Lakhanpal, Shrey" userId="7373a8cc-29fb-4cb8-9d2f-0bfa97e04ed5" providerId="ADAL" clId="{5666EF1E-9DBA-44BF-8772-77569FEE5D13}" dt="2023-03-28T14:28:34.978" v="1914"/>
          <ac:spMkLst>
            <pc:docMk/>
            <pc:sldMk cId="3374222502" sldId="2147473537"/>
            <ac:spMk id="10" creationId="{7FE10D3E-5481-23B5-D1DC-4B1BABC6FAC6}"/>
          </ac:spMkLst>
        </pc:spChg>
        <pc:spChg chg="add del mod modVis">
          <ac:chgData name="Lakhanpal, Shrey" userId="7373a8cc-29fb-4cb8-9d2f-0bfa97e04ed5" providerId="ADAL" clId="{5666EF1E-9DBA-44BF-8772-77569FEE5D13}" dt="2023-03-28T14:28:36.534" v="1964"/>
          <ac:spMkLst>
            <pc:docMk/>
            <pc:sldMk cId="3374222502" sldId="2147473537"/>
            <ac:spMk id="11" creationId="{14389D83-2D1F-4F21-121F-889AEF67ABB7}"/>
          </ac:spMkLst>
        </pc:spChg>
        <pc:spChg chg="add del mod modVis">
          <ac:chgData name="Lakhanpal, Shrey" userId="7373a8cc-29fb-4cb8-9d2f-0bfa97e04ed5" providerId="ADAL" clId="{5666EF1E-9DBA-44BF-8772-77569FEE5D13}" dt="2023-03-28T14:28:37.964" v="2014"/>
          <ac:spMkLst>
            <pc:docMk/>
            <pc:sldMk cId="3374222502" sldId="2147473537"/>
            <ac:spMk id="13" creationId="{64B3F52A-7285-5CB6-2A5A-E76666B9C218}"/>
          </ac:spMkLst>
        </pc:spChg>
        <pc:spChg chg="add del mod modVis">
          <ac:chgData name="Lakhanpal, Shrey" userId="7373a8cc-29fb-4cb8-9d2f-0bfa97e04ed5" providerId="ADAL" clId="{5666EF1E-9DBA-44BF-8772-77569FEE5D13}" dt="2023-03-28T14:28:49.868" v="2061"/>
          <ac:spMkLst>
            <pc:docMk/>
            <pc:sldMk cId="3374222502" sldId="2147473537"/>
            <ac:spMk id="14" creationId="{7A782372-B2CE-634A-07AF-76E71F8738EC}"/>
          </ac:spMkLst>
        </pc:spChg>
        <pc:spChg chg="add del mod modVis">
          <ac:chgData name="Lakhanpal, Shrey" userId="7373a8cc-29fb-4cb8-9d2f-0bfa97e04ed5" providerId="ADAL" clId="{5666EF1E-9DBA-44BF-8772-77569FEE5D13}" dt="2023-03-28T14:28:50.813" v="2108"/>
          <ac:spMkLst>
            <pc:docMk/>
            <pc:sldMk cId="3374222502" sldId="2147473537"/>
            <ac:spMk id="15" creationId="{A34694B4-7391-4A28-4AE9-79C553667547}"/>
          </ac:spMkLst>
        </pc:spChg>
        <pc:graphicFrameChg chg="mod">
          <ac:chgData name="Lakhanpal, Shrey" userId="7373a8cc-29fb-4cb8-9d2f-0bfa97e04ed5" providerId="ADAL" clId="{5666EF1E-9DBA-44BF-8772-77569FEE5D13}" dt="2023-03-28T14:28:50.813" v="2110"/>
          <ac:graphicFrameMkLst>
            <pc:docMk/>
            <pc:sldMk cId="3374222502" sldId="2147473537"/>
            <ac:graphicFrameMk id="12" creationId="{E08B7F05-A2FC-144D-5C2B-FD1465BD88C1}"/>
          </ac:graphicFrameMkLst>
        </pc:graphicFrameChg>
        <pc:picChg chg="del">
          <ac:chgData name="Lakhanpal, Shrey" userId="7373a8cc-29fb-4cb8-9d2f-0bfa97e04ed5" providerId="ADAL" clId="{5666EF1E-9DBA-44BF-8772-77569FEE5D13}" dt="2023-03-28T14:28:22.684" v="1867" actId="478"/>
          <ac:picMkLst>
            <pc:docMk/>
            <pc:sldMk cId="3374222502" sldId="2147473537"/>
            <ac:picMk id="8" creationId="{59F5DE78-F37C-38E7-2F5C-A4ECE7129C41}"/>
          </ac:picMkLst>
        </pc:picChg>
        <pc:picChg chg="add mod modCrop">
          <ac:chgData name="Lakhanpal, Shrey" userId="7373a8cc-29fb-4cb8-9d2f-0bfa97e04ed5" providerId="ADAL" clId="{5666EF1E-9DBA-44BF-8772-77569FEE5D13}" dt="2023-03-28T14:29:42.405" v="2226" actId="732"/>
          <ac:picMkLst>
            <pc:docMk/>
            <pc:sldMk cId="3374222502" sldId="2147473537"/>
            <ac:picMk id="17" creationId="{D2DC8E3B-AF44-800C-DEEA-097473F09896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30:08.981" v="2238" actId="12788"/>
        <pc:sldMkLst>
          <pc:docMk/>
          <pc:sldMk cId="4001858604" sldId="2147473538"/>
        </pc:sldMkLst>
        <pc:spChg chg="mod">
          <ac:chgData name="Lakhanpal, Shrey" userId="7373a8cc-29fb-4cb8-9d2f-0bfa97e04ed5" providerId="ADAL" clId="{5666EF1E-9DBA-44BF-8772-77569FEE5D13}" dt="2023-03-28T14:28:56.636" v="2117" actId="948"/>
          <ac:spMkLst>
            <pc:docMk/>
            <pc:sldMk cId="4001858604" sldId="2147473538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8:56.671" v="2158"/>
          <ac:spMkLst>
            <pc:docMk/>
            <pc:sldMk cId="4001858604" sldId="2147473538"/>
            <ac:spMk id="3" creationId="{B431F5A2-BB84-BCEF-F728-4117D674D35B}"/>
          </ac:spMkLst>
        </pc:spChg>
        <pc:graphicFrameChg chg="mod">
          <ac:chgData name="Lakhanpal, Shrey" userId="7373a8cc-29fb-4cb8-9d2f-0bfa97e04ed5" providerId="ADAL" clId="{5666EF1E-9DBA-44BF-8772-77569FEE5D13}" dt="2023-03-28T14:28:56.671" v="2160"/>
          <ac:graphicFrameMkLst>
            <pc:docMk/>
            <pc:sldMk cId="4001858604" sldId="2147473538"/>
            <ac:graphicFrameMk id="12" creationId="{E08B7F05-A2FC-144D-5C2B-FD1465BD88C1}"/>
          </ac:graphicFrameMkLst>
        </pc:graphicFrameChg>
        <pc:picChg chg="add mod">
          <ac:chgData name="Lakhanpal, Shrey" userId="7373a8cc-29fb-4cb8-9d2f-0bfa97e04ed5" providerId="ADAL" clId="{5666EF1E-9DBA-44BF-8772-77569FEE5D13}" dt="2023-03-28T14:30:08.981" v="2238" actId="12788"/>
          <ac:picMkLst>
            <pc:docMk/>
            <pc:sldMk cId="4001858604" sldId="2147473538"/>
            <ac:picMk id="6" creationId="{C565E53D-8D2A-7095-01D5-862159ADBCC8}"/>
          </ac:picMkLst>
        </pc:picChg>
      </pc:sldChg>
      <pc:sldChg chg="addSp delSp modSp add mod">
        <pc:chgData name="Lakhanpal, Shrey" userId="7373a8cc-29fb-4cb8-9d2f-0bfa97e04ed5" providerId="ADAL" clId="{5666EF1E-9DBA-44BF-8772-77569FEE5D13}" dt="2023-03-28T14:30:39.488" v="2248" actId="1035"/>
        <pc:sldMkLst>
          <pc:docMk/>
          <pc:sldMk cId="721508511" sldId="2147473539"/>
        </pc:sldMkLst>
        <pc:spChg chg="mod">
          <ac:chgData name="Lakhanpal, Shrey" userId="7373a8cc-29fb-4cb8-9d2f-0bfa97e04ed5" providerId="ADAL" clId="{5666EF1E-9DBA-44BF-8772-77569FEE5D13}" dt="2023-03-28T14:29:00.504" v="2163" actId="948"/>
          <ac:spMkLst>
            <pc:docMk/>
            <pc:sldMk cId="721508511" sldId="2147473539"/>
            <ac:spMk id="2" creationId="{234AABD6-27A8-55A7-D048-67A5FE8D5FB7}"/>
          </ac:spMkLst>
        </pc:spChg>
        <pc:spChg chg="add del mod modVis">
          <ac:chgData name="Lakhanpal, Shrey" userId="7373a8cc-29fb-4cb8-9d2f-0bfa97e04ed5" providerId="ADAL" clId="{5666EF1E-9DBA-44BF-8772-77569FEE5D13}" dt="2023-03-28T14:29:00.530" v="2204"/>
          <ac:spMkLst>
            <pc:docMk/>
            <pc:sldMk cId="721508511" sldId="2147473539"/>
            <ac:spMk id="3" creationId="{E67CB4D6-70D3-AEF8-FC53-F1FAB0B1C028}"/>
          </ac:spMkLst>
        </pc:spChg>
        <pc:graphicFrameChg chg="mod">
          <ac:chgData name="Lakhanpal, Shrey" userId="7373a8cc-29fb-4cb8-9d2f-0bfa97e04ed5" providerId="ADAL" clId="{5666EF1E-9DBA-44BF-8772-77569FEE5D13}" dt="2023-03-28T14:29:00.530" v="2206"/>
          <ac:graphicFrameMkLst>
            <pc:docMk/>
            <pc:sldMk cId="721508511" sldId="2147473539"/>
            <ac:graphicFrameMk id="12" creationId="{E08B7F05-A2FC-144D-5C2B-FD1465BD88C1}"/>
          </ac:graphicFrameMkLst>
        </pc:graphicFrameChg>
        <pc:picChg chg="add mod modCrop">
          <ac:chgData name="Lakhanpal, Shrey" userId="7373a8cc-29fb-4cb8-9d2f-0bfa97e04ed5" providerId="ADAL" clId="{5666EF1E-9DBA-44BF-8772-77569FEE5D13}" dt="2023-03-28T14:30:39.488" v="2248" actId="1035"/>
          <ac:picMkLst>
            <pc:docMk/>
            <pc:sldMk cId="721508511" sldId="2147473539"/>
            <ac:picMk id="6" creationId="{9AEC763E-28D4-D572-60B5-C158B37CA540}"/>
          </ac:picMkLst>
        </pc:picChg>
      </pc:sldChg>
    </pc:docChg>
  </pc:docChgLst>
  <pc:docChgLst>
    <pc:chgData name="Mahanta, Rajarshi" userId="156ccb1f-0e21-4761-85ff-a0e2e03211a9" providerId="ADAL" clId="{A6372692-9B81-4B6A-85C1-38FF7E7F12E7}"/>
    <pc:docChg chg="undo custSel modSld replTag">
      <pc:chgData name="Mahanta, Rajarshi" userId="156ccb1f-0e21-4761-85ff-a0e2e03211a9" providerId="ADAL" clId="{A6372692-9B81-4B6A-85C1-38FF7E7F12E7}" dt="2023-03-28T14:30:52.937" v="838"/>
      <pc:docMkLst>
        <pc:docMk/>
      </pc:docMkLst>
      <pc:sldChg chg="modSp mod">
        <pc:chgData name="Mahanta, Rajarshi" userId="156ccb1f-0e21-4761-85ff-a0e2e03211a9" providerId="ADAL" clId="{A6372692-9B81-4B6A-85C1-38FF7E7F12E7}" dt="2023-03-28T14:30:32.444" v="836" actId="5793"/>
        <pc:sldMkLst>
          <pc:docMk/>
          <pc:sldMk cId="2557500940" sldId="257"/>
        </pc:sldMkLst>
        <pc:spChg chg="mod">
          <ac:chgData name="Mahanta, Rajarshi" userId="156ccb1f-0e21-4761-85ff-a0e2e03211a9" providerId="ADAL" clId="{A6372692-9B81-4B6A-85C1-38FF7E7F12E7}" dt="2023-03-28T14:30:32.444" v="836" actId="5793"/>
          <ac:spMkLst>
            <pc:docMk/>
            <pc:sldMk cId="2557500940" sldId="257"/>
            <ac:spMk id="14" creationId="{CB7B99AC-13B3-47D6-B435-B0BF5EB3D3BF}"/>
          </ac:spMkLst>
        </pc:spChg>
      </pc:sldChg>
      <pc:sldChg chg="addSp delSp modSp mod">
        <pc:chgData name="Mahanta, Rajarshi" userId="156ccb1f-0e21-4761-85ff-a0e2e03211a9" providerId="ADAL" clId="{A6372692-9B81-4B6A-85C1-38FF7E7F12E7}" dt="2023-03-28T14:22:44.458" v="275" actId="1076"/>
        <pc:sldMkLst>
          <pc:docMk/>
          <pc:sldMk cId="1702267238" sldId="2147473505"/>
        </pc:sldMkLst>
        <pc:spChg chg="del mod">
          <ac:chgData name="Mahanta, Rajarshi" userId="156ccb1f-0e21-4761-85ff-a0e2e03211a9" providerId="ADAL" clId="{A6372692-9B81-4B6A-85C1-38FF7E7F12E7}" dt="2023-03-28T14:22:24.273" v="246" actId="478"/>
          <ac:spMkLst>
            <pc:docMk/>
            <pc:sldMk cId="1702267238" sldId="2147473505"/>
            <ac:spMk id="2" creationId="{99D3E0FB-80A6-A6CF-5F7E-9465633FD4C4}"/>
          </ac:spMkLst>
        </pc:spChg>
        <pc:spChg chg="mod ord">
          <ac:chgData name="Mahanta, Rajarshi" userId="156ccb1f-0e21-4761-85ff-a0e2e03211a9" providerId="ADAL" clId="{A6372692-9B81-4B6A-85C1-38FF7E7F12E7}" dt="2023-03-28T14:22:20.480" v="245" actId="1076"/>
          <ac:spMkLst>
            <pc:docMk/>
            <pc:sldMk cId="1702267238" sldId="2147473505"/>
            <ac:spMk id="3" creationId="{3CC99CBC-120C-4FAE-A735-979232A0CC62}"/>
          </ac:spMkLst>
        </pc:spChg>
        <pc:spChg chg="add mod ord">
          <ac:chgData name="Mahanta, Rajarshi" userId="156ccb1f-0e21-4761-85ff-a0e2e03211a9" providerId="ADAL" clId="{A6372692-9B81-4B6A-85C1-38FF7E7F12E7}" dt="2023-03-28T14:22:18.030" v="213"/>
          <ac:spMkLst>
            <pc:docMk/>
            <pc:sldMk cId="1702267238" sldId="2147473505"/>
            <ac:spMk id="4" creationId="{61D2EE86-8FEE-06A3-A9D1-E36FD04D012C}"/>
          </ac:spMkLst>
        </pc:spChg>
        <pc:spChg chg="add del mod modVis">
          <ac:chgData name="Mahanta, Rajarshi" userId="156ccb1f-0e21-4761-85ff-a0e2e03211a9" providerId="ADAL" clId="{A6372692-9B81-4B6A-85C1-38FF7E7F12E7}" dt="2023-03-28T14:22:18.036" v="242"/>
          <ac:spMkLst>
            <pc:docMk/>
            <pc:sldMk cId="1702267238" sldId="2147473505"/>
            <ac:spMk id="5" creationId="{2D5B2FBC-7FB2-420D-E2CB-A1552A843E87}"/>
          </ac:spMkLst>
        </pc:spChg>
        <pc:spChg chg="mod ord">
          <ac:chgData name="Mahanta, Rajarshi" userId="156ccb1f-0e21-4761-85ff-a0e2e03211a9" providerId="ADAL" clId="{A6372692-9B81-4B6A-85C1-38FF7E7F12E7}" dt="2023-03-28T14:22:18.031" v="219"/>
          <ac:spMkLst>
            <pc:docMk/>
            <pc:sldMk cId="1702267238" sldId="2147473505"/>
            <ac:spMk id="19" creationId="{9DE7052B-CFE5-D667-073A-B7A8D94D3C16}"/>
          </ac:spMkLst>
        </pc:spChg>
        <pc:spChg chg="mod ord">
          <ac:chgData name="Mahanta, Rajarshi" userId="156ccb1f-0e21-4761-85ff-a0e2e03211a9" providerId="ADAL" clId="{A6372692-9B81-4B6A-85C1-38FF7E7F12E7}" dt="2023-03-28T14:22:18.031" v="217"/>
          <ac:spMkLst>
            <pc:docMk/>
            <pc:sldMk cId="1702267238" sldId="2147473505"/>
            <ac:spMk id="27" creationId="{13E76E4C-A34D-4BC2-9A79-FE6D9FD5D425}"/>
          </ac:spMkLst>
        </pc:spChg>
        <pc:spChg chg="mod ord">
          <ac:chgData name="Mahanta, Rajarshi" userId="156ccb1f-0e21-4761-85ff-a0e2e03211a9" providerId="ADAL" clId="{A6372692-9B81-4B6A-85C1-38FF7E7F12E7}" dt="2023-03-28T14:22:40.656" v="274" actId="1035"/>
          <ac:spMkLst>
            <pc:docMk/>
            <pc:sldMk cId="1702267238" sldId="2147473505"/>
            <ac:spMk id="37" creationId="{161A137F-B65F-9FAA-1CCC-AB55519C717F}"/>
          </ac:spMkLst>
        </pc:spChg>
        <pc:spChg chg="mod ord">
          <ac:chgData name="Mahanta, Rajarshi" userId="156ccb1f-0e21-4761-85ff-a0e2e03211a9" providerId="ADAL" clId="{A6372692-9B81-4B6A-85C1-38FF7E7F12E7}" dt="2023-03-28T14:22:44.458" v="275" actId="1076"/>
          <ac:spMkLst>
            <pc:docMk/>
            <pc:sldMk cId="1702267238" sldId="2147473505"/>
            <ac:spMk id="38" creationId="{3772D6EA-EEAE-0762-ED57-20A395071FC3}"/>
          </ac:spMkLst>
        </pc:spChg>
        <pc:spChg chg="mod ord">
          <ac:chgData name="Mahanta, Rajarshi" userId="156ccb1f-0e21-4761-85ff-a0e2e03211a9" providerId="ADAL" clId="{A6372692-9B81-4B6A-85C1-38FF7E7F12E7}" dt="2023-03-28T14:22:18.032" v="225"/>
          <ac:spMkLst>
            <pc:docMk/>
            <pc:sldMk cId="1702267238" sldId="2147473505"/>
            <ac:spMk id="54" creationId="{D403EF0A-7958-DD58-16FB-7BDB6269CB02}"/>
          </ac:spMkLst>
        </pc:spChg>
        <pc:spChg chg="mod ord">
          <ac:chgData name="Mahanta, Rajarshi" userId="156ccb1f-0e21-4761-85ff-a0e2e03211a9" providerId="ADAL" clId="{A6372692-9B81-4B6A-85C1-38FF7E7F12E7}" dt="2023-03-28T14:22:18.032" v="227"/>
          <ac:spMkLst>
            <pc:docMk/>
            <pc:sldMk cId="1702267238" sldId="2147473505"/>
            <ac:spMk id="55" creationId="{F88CB76C-ECE3-ABFA-92BC-8BF0E81C0715}"/>
          </ac:spMkLst>
        </pc:spChg>
        <pc:spChg chg="mod ord">
          <ac:chgData name="Mahanta, Rajarshi" userId="156ccb1f-0e21-4761-85ff-a0e2e03211a9" providerId="ADAL" clId="{A6372692-9B81-4B6A-85C1-38FF7E7F12E7}" dt="2023-03-28T14:22:18.033" v="229"/>
          <ac:spMkLst>
            <pc:docMk/>
            <pc:sldMk cId="1702267238" sldId="2147473505"/>
            <ac:spMk id="59" creationId="{CAB5715A-9CF3-FDD4-0B3A-691B1DA138D5}"/>
          </ac:spMkLst>
        </pc:spChg>
        <pc:spChg chg="mod ord">
          <ac:chgData name="Mahanta, Rajarshi" userId="156ccb1f-0e21-4761-85ff-a0e2e03211a9" providerId="ADAL" clId="{A6372692-9B81-4B6A-85C1-38FF7E7F12E7}" dt="2023-03-28T14:22:18.033" v="231"/>
          <ac:spMkLst>
            <pc:docMk/>
            <pc:sldMk cId="1702267238" sldId="2147473505"/>
            <ac:spMk id="61" creationId="{5CD0AA05-CD26-0E82-FBA6-80E98D78F9ED}"/>
          </ac:spMkLst>
        </pc:spChg>
        <pc:spChg chg="mod ord">
          <ac:chgData name="Mahanta, Rajarshi" userId="156ccb1f-0e21-4761-85ff-a0e2e03211a9" providerId="ADAL" clId="{A6372692-9B81-4B6A-85C1-38FF7E7F12E7}" dt="2023-03-28T14:22:18.033" v="233"/>
          <ac:spMkLst>
            <pc:docMk/>
            <pc:sldMk cId="1702267238" sldId="2147473505"/>
            <ac:spMk id="256" creationId="{CCCEF7AC-66BB-5750-AE58-30713443C99D}"/>
          </ac:spMkLst>
        </pc:spChg>
        <pc:spChg chg="mod ord">
          <ac:chgData name="Mahanta, Rajarshi" userId="156ccb1f-0e21-4761-85ff-a0e2e03211a9" providerId="ADAL" clId="{A6372692-9B81-4B6A-85C1-38FF7E7F12E7}" dt="2023-03-28T14:22:18.034" v="235"/>
          <ac:spMkLst>
            <pc:docMk/>
            <pc:sldMk cId="1702267238" sldId="2147473505"/>
            <ac:spMk id="257" creationId="{2F418579-94C5-6B69-183C-7BAD0B94F429}"/>
          </ac:spMkLst>
        </pc:spChg>
        <pc:graphicFrameChg chg="mod">
          <ac:chgData name="Mahanta, Rajarshi" userId="156ccb1f-0e21-4761-85ff-a0e2e03211a9" providerId="ADAL" clId="{A6372692-9B81-4B6A-85C1-38FF7E7F12E7}" dt="2023-03-28T14:22:18.038" v="244"/>
          <ac:graphicFrameMkLst>
            <pc:docMk/>
            <pc:sldMk cId="1702267238" sldId="2147473505"/>
            <ac:graphicFrameMk id="26" creationId="{F0551EE7-639B-4D90-8C14-A40F63A0AAD5}"/>
          </ac:graphicFrameMkLst>
        </pc:graphicFrameChg>
        <pc:picChg chg="mod ord">
          <ac:chgData name="Mahanta, Rajarshi" userId="156ccb1f-0e21-4761-85ff-a0e2e03211a9" providerId="ADAL" clId="{A6372692-9B81-4B6A-85C1-38FF7E7F12E7}" dt="2023-03-28T14:22:18.030" v="215"/>
          <ac:picMkLst>
            <pc:docMk/>
            <pc:sldMk cId="1702267238" sldId="2147473505"/>
            <ac:picMk id="41" creationId="{6ECE16EE-2373-A21C-8F27-6A393087FDBE}"/>
          </ac:picMkLst>
        </pc:picChg>
      </pc:sldChg>
      <pc:sldChg chg="addSp delSp modSp">
        <pc:chgData name="Mahanta, Rajarshi" userId="156ccb1f-0e21-4761-85ff-a0e2e03211a9" providerId="ADAL" clId="{A6372692-9B81-4B6A-85C1-38FF7E7F12E7}" dt="2023-03-28T14:28:57.794" v="821"/>
        <pc:sldMkLst>
          <pc:docMk/>
          <pc:sldMk cId="1021790043" sldId="2147473518"/>
        </pc:sldMkLst>
        <pc:spChg chg="add del mod">
          <ac:chgData name="Mahanta, Rajarshi" userId="156ccb1f-0e21-4761-85ff-a0e2e03211a9" providerId="ADAL" clId="{A6372692-9B81-4B6A-85C1-38FF7E7F12E7}" dt="2023-03-28T14:28:57.794" v="821"/>
          <ac:spMkLst>
            <pc:docMk/>
            <pc:sldMk cId="1021790043" sldId="2147473518"/>
            <ac:spMk id="3" creationId="{85364AA7-09E1-4802-033F-FA7FEC0DE26C}"/>
          </ac:spMkLst>
        </pc:spChg>
      </pc:sldChg>
      <pc:sldChg chg="addSp delSp modSp mod">
        <pc:chgData name="Mahanta, Rajarshi" userId="156ccb1f-0e21-4761-85ff-a0e2e03211a9" providerId="ADAL" clId="{A6372692-9B81-4B6A-85C1-38FF7E7F12E7}" dt="2023-03-28T14:29:02.402" v="822"/>
        <pc:sldMkLst>
          <pc:docMk/>
          <pc:sldMk cId="3177886023" sldId="2147473529"/>
        </pc:sldMkLst>
        <pc:spChg chg="mod">
          <ac:chgData name="Mahanta, Rajarshi" userId="156ccb1f-0e21-4761-85ff-a0e2e03211a9" providerId="ADAL" clId="{A6372692-9B81-4B6A-85C1-38FF7E7F12E7}" dt="2023-03-28T14:27:54.652" v="278" actId="948"/>
          <ac:spMkLst>
            <pc:docMk/>
            <pc:sldMk cId="3177886023" sldId="2147473529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7:54.733" v="319"/>
          <ac:spMkLst>
            <pc:docMk/>
            <pc:sldMk cId="3177886023" sldId="2147473529"/>
            <ac:spMk id="3" creationId="{E7B38B85-24B5-0682-C491-F566D285BA3C}"/>
          </ac:spMkLst>
        </pc:spChg>
        <pc:spChg chg="add mod">
          <ac:chgData name="Mahanta, Rajarshi" userId="156ccb1f-0e21-4761-85ff-a0e2e03211a9" providerId="ADAL" clId="{A6372692-9B81-4B6A-85C1-38FF7E7F12E7}" dt="2023-03-28T14:29:02.402" v="822"/>
          <ac:spMkLst>
            <pc:docMk/>
            <pc:sldMk cId="3177886023" sldId="2147473529"/>
            <ac:spMk id="5" creationId="{1A51F359-4553-4545-DC5D-2195BDC7012E}"/>
          </ac:spMkLst>
        </pc:spChg>
        <pc:graphicFrameChg chg="mod">
          <ac:chgData name="Mahanta, Rajarshi" userId="156ccb1f-0e21-4761-85ff-a0e2e03211a9" providerId="ADAL" clId="{A6372692-9B81-4B6A-85C1-38FF7E7F12E7}" dt="2023-03-28T14:27:54.736" v="321"/>
          <ac:graphicFrameMkLst>
            <pc:docMk/>
            <pc:sldMk cId="3177886023" sldId="2147473529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3.943" v="823"/>
        <pc:sldMkLst>
          <pc:docMk/>
          <pc:sldMk cId="1293565264" sldId="2147473530"/>
        </pc:sldMkLst>
        <pc:spChg chg="mod">
          <ac:chgData name="Mahanta, Rajarshi" userId="156ccb1f-0e21-4761-85ff-a0e2e03211a9" providerId="ADAL" clId="{A6372692-9B81-4B6A-85C1-38FF7E7F12E7}" dt="2023-03-28T14:27:58.607" v="368" actId="948"/>
          <ac:spMkLst>
            <pc:docMk/>
            <pc:sldMk cId="1293565264" sldId="2147473530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7:57.795" v="364"/>
          <ac:spMkLst>
            <pc:docMk/>
            <pc:sldMk cId="1293565264" sldId="2147473530"/>
            <ac:spMk id="3" creationId="{65728494-3066-4CE3-1123-1871C2BC66F8}"/>
          </ac:spMkLst>
        </pc:spChg>
        <pc:spChg chg="add del mod modVis">
          <ac:chgData name="Mahanta, Rajarshi" userId="156ccb1f-0e21-4761-85ff-a0e2e03211a9" providerId="ADAL" clId="{A6372692-9B81-4B6A-85C1-38FF7E7F12E7}" dt="2023-03-28T14:27:58.634" v="409"/>
          <ac:spMkLst>
            <pc:docMk/>
            <pc:sldMk cId="1293565264" sldId="2147473530"/>
            <ac:spMk id="5" creationId="{4F9524E3-A1E3-D61A-88A2-D4D3778D3FF5}"/>
          </ac:spMkLst>
        </pc:spChg>
        <pc:spChg chg="add mod">
          <ac:chgData name="Mahanta, Rajarshi" userId="156ccb1f-0e21-4761-85ff-a0e2e03211a9" providerId="ADAL" clId="{A6372692-9B81-4B6A-85C1-38FF7E7F12E7}" dt="2023-03-28T14:29:13.943" v="823"/>
          <ac:spMkLst>
            <pc:docMk/>
            <pc:sldMk cId="1293565264" sldId="2147473530"/>
            <ac:spMk id="6" creationId="{8397A010-4326-A2CA-427B-774EF9E42852}"/>
          </ac:spMkLst>
        </pc:spChg>
        <pc:graphicFrameChg chg="mod">
          <ac:chgData name="Mahanta, Rajarshi" userId="156ccb1f-0e21-4761-85ff-a0e2e03211a9" providerId="ADAL" clId="{A6372692-9B81-4B6A-85C1-38FF7E7F12E7}" dt="2023-03-28T14:27:58.636" v="411"/>
          <ac:graphicFrameMkLst>
            <pc:docMk/>
            <pc:sldMk cId="1293565264" sldId="2147473530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4.594" v="824"/>
        <pc:sldMkLst>
          <pc:docMk/>
          <pc:sldMk cId="2034058126" sldId="2147473531"/>
        </pc:sldMkLst>
        <pc:spChg chg="mod">
          <ac:chgData name="Mahanta, Rajarshi" userId="156ccb1f-0e21-4761-85ff-a0e2e03211a9" providerId="ADAL" clId="{A6372692-9B81-4B6A-85C1-38FF7E7F12E7}" dt="2023-03-28T14:28:03.403" v="504" actId="948"/>
          <ac:spMkLst>
            <pc:docMk/>
            <pc:sldMk cId="2034058126" sldId="2147473531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8:01.320" v="454"/>
          <ac:spMkLst>
            <pc:docMk/>
            <pc:sldMk cId="2034058126" sldId="2147473531"/>
            <ac:spMk id="3" creationId="{90C64E8C-5330-E46D-588E-9582AD8615F7}"/>
          </ac:spMkLst>
        </pc:spChg>
        <pc:spChg chg="add del mod modVis">
          <ac:chgData name="Mahanta, Rajarshi" userId="156ccb1f-0e21-4761-85ff-a0e2e03211a9" providerId="ADAL" clId="{A6372692-9B81-4B6A-85C1-38FF7E7F12E7}" dt="2023-03-28T14:28:02.023" v="499"/>
          <ac:spMkLst>
            <pc:docMk/>
            <pc:sldMk cId="2034058126" sldId="2147473531"/>
            <ac:spMk id="5" creationId="{AFB711AC-5AAF-CC72-13D2-D720BC6B2B08}"/>
          </ac:spMkLst>
        </pc:spChg>
        <pc:spChg chg="add del mod modVis">
          <ac:chgData name="Mahanta, Rajarshi" userId="156ccb1f-0e21-4761-85ff-a0e2e03211a9" providerId="ADAL" clId="{A6372692-9B81-4B6A-85C1-38FF7E7F12E7}" dt="2023-03-28T14:28:03.467" v="545"/>
          <ac:spMkLst>
            <pc:docMk/>
            <pc:sldMk cId="2034058126" sldId="2147473531"/>
            <ac:spMk id="8" creationId="{268662D7-E269-2F8E-F3B5-822FCA1E3609}"/>
          </ac:spMkLst>
        </pc:spChg>
        <pc:spChg chg="add mod">
          <ac:chgData name="Mahanta, Rajarshi" userId="156ccb1f-0e21-4761-85ff-a0e2e03211a9" providerId="ADAL" clId="{A6372692-9B81-4B6A-85C1-38FF7E7F12E7}" dt="2023-03-28T14:29:14.594" v="824"/>
          <ac:spMkLst>
            <pc:docMk/>
            <pc:sldMk cId="2034058126" sldId="2147473531"/>
            <ac:spMk id="9" creationId="{5D564388-6DD6-DEBF-C000-A2AB18333F8F}"/>
          </ac:spMkLst>
        </pc:spChg>
        <pc:graphicFrameChg chg="mod">
          <ac:chgData name="Mahanta, Rajarshi" userId="156ccb1f-0e21-4761-85ff-a0e2e03211a9" providerId="ADAL" clId="{A6372692-9B81-4B6A-85C1-38FF7E7F12E7}" dt="2023-03-28T14:28:03.469" v="547"/>
          <ac:graphicFrameMkLst>
            <pc:docMk/>
            <pc:sldMk cId="2034058126" sldId="2147473531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5.398" v="825"/>
        <pc:sldMkLst>
          <pc:docMk/>
          <pc:sldMk cId="688754516" sldId="2147473532"/>
        </pc:sldMkLst>
        <pc:spChg chg="mod">
          <ac:chgData name="Mahanta, Rajarshi" userId="156ccb1f-0e21-4761-85ff-a0e2e03211a9" providerId="ADAL" clId="{A6372692-9B81-4B6A-85C1-38FF7E7F12E7}" dt="2023-03-28T14:28:06.468" v="550" actId="948"/>
          <ac:spMkLst>
            <pc:docMk/>
            <pc:sldMk cId="688754516" sldId="2147473532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8:06.520" v="591"/>
          <ac:spMkLst>
            <pc:docMk/>
            <pc:sldMk cId="688754516" sldId="2147473532"/>
            <ac:spMk id="3" creationId="{430CC420-6C89-CEA8-C65C-AAC7E842C59F}"/>
          </ac:spMkLst>
        </pc:spChg>
        <pc:spChg chg="add mod">
          <ac:chgData name="Mahanta, Rajarshi" userId="156ccb1f-0e21-4761-85ff-a0e2e03211a9" providerId="ADAL" clId="{A6372692-9B81-4B6A-85C1-38FF7E7F12E7}" dt="2023-03-28T14:29:15.398" v="825"/>
          <ac:spMkLst>
            <pc:docMk/>
            <pc:sldMk cId="688754516" sldId="2147473532"/>
            <ac:spMk id="5" creationId="{90154630-031E-C5DF-1AEE-EA6FB487C502}"/>
          </ac:spMkLst>
        </pc:spChg>
        <pc:graphicFrameChg chg="mod">
          <ac:chgData name="Mahanta, Rajarshi" userId="156ccb1f-0e21-4761-85ff-a0e2e03211a9" providerId="ADAL" clId="{A6372692-9B81-4B6A-85C1-38FF7E7F12E7}" dt="2023-03-28T14:28:06.522" v="593"/>
          <ac:graphicFrameMkLst>
            <pc:docMk/>
            <pc:sldMk cId="688754516" sldId="2147473532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6.152" v="826"/>
        <pc:sldMkLst>
          <pc:docMk/>
          <pc:sldMk cId="959352707" sldId="2147473533"/>
        </pc:sldMkLst>
        <pc:spChg chg="mod">
          <ac:chgData name="Mahanta, Rajarshi" userId="156ccb1f-0e21-4761-85ff-a0e2e03211a9" providerId="ADAL" clId="{A6372692-9B81-4B6A-85C1-38FF7E7F12E7}" dt="2023-03-28T14:28:09.963" v="640" actId="948"/>
          <ac:spMkLst>
            <pc:docMk/>
            <pc:sldMk cId="959352707" sldId="2147473533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8:09.311" v="636"/>
          <ac:spMkLst>
            <pc:docMk/>
            <pc:sldMk cId="959352707" sldId="2147473533"/>
            <ac:spMk id="3" creationId="{F6E4B8AA-C0AA-5499-D3FA-28D9C6553972}"/>
          </ac:spMkLst>
        </pc:spChg>
        <pc:spChg chg="add del mod modVis">
          <ac:chgData name="Mahanta, Rajarshi" userId="156ccb1f-0e21-4761-85ff-a0e2e03211a9" providerId="ADAL" clId="{A6372692-9B81-4B6A-85C1-38FF7E7F12E7}" dt="2023-03-28T14:28:10.007" v="681"/>
          <ac:spMkLst>
            <pc:docMk/>
            <pc:sldMk cId="959352707" sldId="2147473533"/>
            <ac:spMk id="5" creationId="{BBF287BC-4594-1AB4-3FAA-11A67802CD22}"/>
          </ac:spMkLst>
        </pc:spChg>
        <pc:spChg chg="add mod">
          <ac:chgData name="Mahanta, Rajarshi" userId="156ccb1f-0e21-4761-85ff-a0e2e03211a9" providerId="ADAL" clId="{A6372692-9B81-4B6A-85C1-38FF7E7F12E7}" dt="2023-03-28T14:29:16.152" v="826"/>
          <ac:spMkLst>
            <pc:docMk/>
            <pc:sldMk cId="959352707" sldId="2147473533"/>
            <ac:spMk id="7" creationId="{0CED9DF5-97CE-6DB7-8E3C-341B781A6862}"/>
          </ac:spMkLst>
        </pc:spChg>
        <pc:graphicFrameChg chg="mod">
          <ac:chgData name="Mahanta, Rajarshi" userId="156ccb1f-0e21-4761-85ff-a0e2e03211a9" providerId="ADAL" clId="{A6372692-9B81-4B6A-85C1-38FF7E7F12E7}" dt="2023-03-28T14:28:10.009" v="683"/>
          <ac:graphicFrameMkLst>
            <pc:docMk/>
            <pc:sldMk cId="959352707" sldId="2147473533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7.095" v="827"/>
        <pc:sldMkLst>
          <pc:docMk/>
          <pc:sldMk cId="1564621393" sldId="2147473534"/>
        </pc:sldMkLst>
        <pc:spChg chg="mod">
          <ac:chgData name="Mahanta, Rajarshi" userId="156ccb1f-0e21-4761-85ff-a0e2e03211a9" providerId="ADAL" clId="{A6372692-9B81-4B6A-85C1-38FF7E7F12E7}" dt="2023-03-28T14:28:18.175" v="686" actId="948"/>
          <ac:spMkLst>
            <pc:docMk/>
            <pc:sldMk cId="1564621393" sldId="2147473534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8:18.235" v="727"/>
          <ac:spMkLst>
            <pc:docMk/>
            <pc:sldMk cId="1564621393" sldId="2147473534"/>
            <ac:spMk id="3" creationId="{208BC617-79AA-1F62-7295-C64851863093}"/>
          </ac:spMkLst>
        </pc:spChg>
        <pc:spChg chg="add mod">
          <ac:chgData name="Mahanta, Rajarshi" userId="156ccb1f-0e21-4761-85ff-a0e2e03211a9" providerId="ADAL" clId="{A6372692-9B81-4B6A-85C1-38FF7E7F12E7}" dt="2023-03-28T14:29:17.095" v="827"/>
          <ac:spMkLst>
            <pc:docMk/>
            <pc:sldMk cId="1564621393" sldId="2147473534"/>
            <ac:spMk id="5" creationId="{995FEF2F-16C0-EB57-5403-A84ECCE07DA8}"/>
          </ac:spMkLst>
        </pc:spChg>
        <pc:graphicFrameChg chg="mod">
          <ac:chgData name="Mahanta, Rajarshi" userId="156ccb1f-0e21-4761-85ff-a0e2e03211a9" providerId="ADAL" clId="{A6372692-9B81-4B6A-85C1-38FF7E7F12E7}" dt="2023-03-28T14:28:18.238" v="729"/>
          <ac:graphicFrameMkLst>
            <pc:docMk/>
            <pc:sldMk cId="1564621393" sldId="2147473534"/>
            <ac:graphicFrameMk id="12" creationId="{E08B7F05-A2FC-144D-5C2B-FD1465BD88C1}"/>
          </ac:graphicFrameMkLst>
        </pc:graphicFrameChg>
      </pc:sldChg>
      <pc:sldChg chg="addSp delSp modSp mod">
        <pc:chgData name="Mahanta, Rajarshi" userId="156ccb1f-0e21-4761-85ff-a0e2e03211a9" providerId="ADAL" clId="{A6372692-9B81-4B6A-85C1-38FF7E7F12E7}" dt="2023-03-28T14:29:17.973" v="828"/>
        <pc:sldMkLst>
          <pc:docMk/>
          <pc:sldMk cId="715824019" sldId="2147473535"/>
        </pc:sldMkLst>
        <pc:spChg chg="mod">
          <ac:chgData name="Mahanta, Rajarshi" userId="156ccb1f-0e21-4761-85ff-a0e2e03211a9" providerId="ADAL" clId="{A6372692-9B81-4B6A-85C1-38FF7E7F12E7}" dt="2023-03-28T14:28:21.700" v="776" actId="948"/>
          <ac:spMkLst>
            <pc:docMk/>
            <pc:sldMk cId="715824019" sldId="2147473535"/>
            <ac:spMk id="2" creationId="{234AABD6-27A8-55A7-D048-67A5FE8D5FB7}"/>
          </ac:spMkLst>
        </pc:spChg>
        <pc:spChg chg="add del mod modVis">
          <ac:chgData name="Mahanta, Rajarshi" userId="156ccb1f-0e21-4761-85ff-a0e2e03211a9" providerId="ADAL" clId="{A6372692-9B81-4B6A-85C1-38FF7E7F12E7}" dt="2023-03-28T14:28:21.067" v="772"/>
          <ac:spMkLst>
            <pc:docMk/>
            <pc:sldMk cId="715824019" sldId="2147473535"/>
            <ac:spMk id="3" creationId="{C0BD4DF8-A87C-A840-C3F7-794626D0E1DE}"/>
          </ac:spMkLst>
        </pc:spChg>
        <pc:spChg chg="add del mod modVis">
          <ac:chgData name="Mahanta, Rajarshi" userId="156ccb1f-0e21-4761-85ff-a0e2e03211a9" providerId="ADAL" clId="{A6372692-9B81-4B6A-85C1-38FF7E7F12E7}" dt="2023-03-28T14:28:21.750" v="817"/>
          <ac:spMkLst>
            <pc:docMk/>
            <pc:sldMk cId="715824019" sldId="2147473535"/>
            <ac:spMk id="5" creationId="{1AECF357-26DC-2E9B-CB25-A40B61F2196B}"/>
          </ac:spMkLst>
        </pc:spChg>
        <pc:spChg chg="add mod">
          <ac:chgData name="Mahanta, Rajarshi" userId="156ccb1f-0e21-4761-85ff-a0e2e03211a9" providerId="ADAL" clId="{A6372692-9B81-4B6A-85C1-38FF7E7F12E7}" dt="2023-03-28T14:29:17.973" v="828"/>
          <ac:spMkLst>
            <pc:docMk/>
            <pc:sldMk cId="715824019" sldId="2147473535"/>
            <ac:spMk id="8" creationId="{17FC7EC6-95AE-23B2-BC52-5DF0D4651496}"/>
          </ac:spMkLst>
        </pc:spChg>
        <pc:graphicFrameChg chg="mod">
          <ac:chgData name="Mahanta, Rajarshi" userId="156ccb1f-0e21-4761-85ff-a0e2e03211a9" providerId="ADAL" clId="{A6372692-9B81-4B6A-85C1-38FF7E7F12E7}" dt="2023-03-28T14:28:21.751" v="819"/>
          <ac:graphicFrameMkLst>
            <pc:docMk/>
            <pc:sldMk cId="715824019" sldId="2147473535"/>
            <ac:graphicFrameMk id="12" creationId="{E08B7F05-A2FC-144D-5C2B-FD1465BD88C1}"/>
          </ac:graphicFrameMkLst>
        </pc:graphicFrameChg>
      </pc:sldChg>
      <pc:sldChg chg="addSp modSp">
        <pc:chgData name="Mahanta, Rajarshi" userId="156ccb1f-0e21-4761-85ff-a0e2e03211a9" providerId="ADAL" clId="{A6372692-9B81-4B6A-85C1-38FF7E7F12E7}" dt="2023-03-28T14:29:18.724" v="829"/>
        <pc:sldMkLst>
          <pc:docMk/>
          <pc:sldMk cId="3092398035" sldId="2147473536"/>
        </pc:sldMkLst>
        <pc:spChg chg="add mod">
          <ac:chgData name="Mahanta, Rajarshi" userId="156ccb1f-0e21-4761-85ff-a0e2e03211a9" providerId="ADAL" clId="{A6372692-9B81-4B6A-85C1-38FF7E7F12E7}" dt="2023-03-28T14:29:18.724" v="829"/>
          <ac:spMkLst>
            <pc:docMk/>
            <pc:sldMk cId="3092398035" sldId="2147473536"/>
            <ac:spMk id="3" creationId="{80DA0F53-2864-A2EC-8622-5A11041BB9C7}"/>
          </ac:spMkLst>
        </pc:spChg>
      </pc:sldChg>
      <pc:sldChg chg="addSp modSp">
        <pc:chgData name="Mahanta, Rajarshi" userId="156ccb1f-0e21-4761-85ff-a0e2e03211a9" providerId="ADAL" clId="{A6372692-9B81-4B6A-85C1-38FF7E7F12E7}" dt="2023-03-28T14:29:22.660" v="830"/>
        <pc:sldMkLst>
          <pc:docMk/>
          <pc:sldMk cId="3374222502" sldId="2147473537"/>
        </pc:sldMkLst>
        <pc:spChg chg="add mod">
          <ac:chgData name="Mahanta, Rajarshi" userId="156ccb1f-0e21-4761-85ff-a0e2e03211a9" providerId="ADAL" clId="{A6372692-9B81-4B6A-85C1-38FF7E7F12E7}" dt="2023-03-28T14:29:22.660" v="830"/>
          <ac:spMkLst>
            <pc:docMk/>
            <pc:sldMk cId="3374222502" sldId="2147473537"/>
            <ac:spMk id="3" creationId="{6E0896D3-33F2-0A1F-B0F4-88225104D64D}"/>
          </ac:spMkLst>
        </pc:spChg>
      </pc:sldChg>
      <pc:sldChg chg="addSp modSp">
        <pc:chgData name="Mahanta, Rajarshi" userId="156ccb1f-0e21-4761-85ff-a0e2e03211a9" providerId="ADAL" clId="{A6372692-9B81-4B6A-85C1-38FF7E7F12E7}" dt="2023-03-28T14:30:51.889" v="837"/>
        <pc:sldMkLst>
          <pc:docMk/>
          <pc:sldMk cId="4001858604" sldId="2147473538"/>
        </pc:sldMkLst>
        <pc:spChg chg="add mod">
          <ac:chgData name="Mahanta, Rajarshi" userId="156ccb1f-0e21-4761-85ff-a0e2e03211a9" providerId="ADAL" clId="{A6372692-9B81-4B6A-85C1-38FF7E7F12E7}" dt="2023-03-28T14:30:51.889" v="837"/>
          <ac:spMkLst>
            <pc:docMk/>
            <pc:sldMk cId="4001858604" sldId="2147473538"/>
            <ac:spMk id="3" creationId="{25D00262-8FA3-B7CC-E856-A83F56EDA190}"/>
          </ac:spMkLst>
        </pc:spChg>
      </pc:sldChg>
      <pc:sldChg chg="addSp modSp">
        <pc:chgData name="Mahanta, Rajarshi" userId="156ccb1f-0e21-4761-85ff-a0e2e03211a9" providerId="ADAL" clId="{A6372692-9B81-4B6A-85C1-38FF7E7F12E7}" dt="2023-03-28T14:30:52.937" v="838"/>
        <pc:sldMkLst>
          <pc:docMk/>
          <pc:sldMk cId="721508511" sldId="2147473539"/>
        </pc:sldMkLst>
        <pc:spChg chg="add mod">
          <ac:chgData name="Mahanta, Rajarshi" userId="156ccb1f-0e21-4761-85ff-a0e2e03211a9" providerId="ADAL" clId="{A6372692-9B81-4B6A-85C1-38FF7E7F12E7}" dt="2023-03-28T14:30:52.937" v="838"/>
          <ac:spMkLst>
            <pc:docMk/>
            <pc:sldMk cId="721508511" sldId="2147473539"/>
            <ac:spMk id="3" creationId="{FB33B9DB-F85C-70CA-52A2-32442069923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80936705072572E-3"/>
          <c:y val="9.4455852156057493E-2"/>
          <c:w val="0.98443812658985486"/>
          <c:h val="0.8788501026694045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33B-4B99-8362-6D30CA99423E}"/>
              </c:ext>
            </c:extLst>
          </c:dPt>
          <c:dPt>
            <c:idx val="3"/>
            <c:invertIfNegative val="0"/>
            <c:bubble3D val="0"/>
            <c:spPr>
              <a:solidFill>
                <a:srgbClr val="AF7DEB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33B-4B99-8362-6D30CA99423E}"/>
              </c:ext>
            </c:extLst>
          </c:dPt>
          <c:dLbls>
            <c:dLbl>
              <c:idx val="0"/>
              <c:layout>
                <c:manualLayout>
                  <c:x val="0"/>
                  <c:y val="-0.487166324435318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33B-4B99-8362-6D30CA99423E}"/>
                </c:ext>
              </c:extLst>
            </c:dLbl>
            <c:dLbl>
              <c:idx val="3"/>
              <c:layout>
                <c:manualLayout>
                  <c:x val="0"/>
                  <c:y val="-5.1334702258726901E-4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33B-4B99-8362-6D30CA99423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7</c:v>
                </c:pt>
                <c:pt idx="1">
                  <c:v>62</c:v>
                </c:pt>
                <c:pt idx="2">
                  <c:v>26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3B-4B99-8362-6D30CA99423E}"/>
            </c:ext>
          </c:extLst>
        </c:ser>
        <c:ser>
          <c:idx val="1"/>
          <c:order val="1"/>
          <c:spPr>
            <a:solidFill>
              <a:srgbClr val="C8A5F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6D2FA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33B-4B99-8362-6D30CA99423E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3B-4B99-8362-6D30CA99423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33B-4B99-8362-6D30CA99423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35</c:v>
                </c:pt>
                <c:pt idx="2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33B-4B99-8362-6D30CA994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21830319"/>
        <c:axId val="1"/>
      </c:barChart>
      <c:catAx>
        <c:axId val="3218303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18303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80936705072572E-3"/>
          <c:y val="9.4455852156057493E-2"/>
          <c:w val="0.98443812658985486"/>
          <c:h val="0.8788501026694045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C3B8-4942-9B27-477DE7F74C04}"/>
              </c:ext>
            </c:extLst>
          </c:dPt>
          <c:dPt>
            <c:idx val="3"/>
            <c:invertIfNegative val="0"/>
            <c:bubble3D val="0"/>
            <c:spPr>
              <a:solidFill>
                <a:srgbClr val="AF7DEB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3B8-4942-9B27-477DE7F74C04}"/>
              </c:ext>
            </c:extLst>
          </c:dPt>
          <c:dLbls>
            <c:dLbl>
              <c:idx val="0"/>
              <c:layout>
                <c:manualLayout>
                  <c:x val="0"/>
                  <c:y val="-0.487166324435318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3B8-4942-9B27-477DE7F74C0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3B8-4942-9B27-477DE7F74C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98</c:v>
                </c:pt>
                <c:pt idx="1">
                  <c:v>69</c:v>
                </c:pt>
                <c:pt idx="2">
                  <c:v>23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3B8-4942-9B27-477DE7F74C04}"/>
            </c:ext>
          </c:extLst>
        </c:ser>
        <c:ser>
          <c:idx val="1"/>
          <c:order val="1"/>
          <c:spPr>
            <a:solidFill>
              <a:srgbClr val="C8A5F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6D2FA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3B8-4942-9B27-477DE7F74C0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3B8-4942-9B27-477DE7F74C0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3B8-4942-9B27-477DE7F74C0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29</c:v>
                </c:pt>
                <c:pt idx="2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3B8-4942-9B27-477DE7F74C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6541839"/>
        <c:axId val="1"/>
      </c:barChart>
      <c:catAx>
        <c:axId val="616541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165418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391B4-A7B8-4DA7-BE79-A26093C71E92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2782-2960-41E3-A120-70E9B22BE6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990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F049A5-5ACC-4B97-8BDF-A143181E66C3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4629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024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5040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3737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0965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7238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1195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9627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3735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261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690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939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886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5272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01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3062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55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6BE9D3-D604-4FB6-9BEB-E6C06991C78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611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nstagram.com/kearneyofficial/" TargetMode="External"/><Relationship Id="rId13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hyperlink" Target="https://youtube.com/Kearney" TargetMode="External"/><Relationship Id="rId2" Type="http://schemas.openxmlformats.org/officeDocument/2006/relationships/tags" Target="../tags/tag25.xml"/><Relationship Id="rId16" Type="http://schemas.openxmlformats.org/officeDocument/2006/relationships/image" Target="../media/image2.emf"/><Relationship Id="rId1" Type="http://schemas.openxmlformats.org/officeDocument/2006/relationships/tags" Target="../tags/tag24.xml"/><Relationship Id="rId6" Type="http://schemas.openxmlformats.org/officeDocument/2006/relationships/hyperlink" Target="https://www.linkedin.com/company/kearney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5" Type="http://schemas.openxmlformats.org/officeDocument/2006/relationships/image" Target="../media/image7.png"/><Relationship Id="rId10" Type="http://schemas.openxmlformats.org/officeDocument/2006/relationships/hyperlink" Target="https://twitter.com/Kearney" TargetMode="External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.png"/><Relationship Id="rId14" Type="http://schemas.openxmlformats.org/officeDocument/2006/relationships/hyperlink" Target="https://www.facebook.com/Kearney/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microsoft.com/office/2007/relationships/hdphoto" Target="../media/hdphoto4.wdp"/><Relationship Id="rId18" Type="http://schemas.openxmlformats.org/officeDocument/2006/relationships/image" Target="../media/image21.png"/><Relationship Id="rId3" Type="http://schemas.openxmlformats.org/officeDocument/2006/relationships/image" Target="../media/image11.png"/><Relationship Id="rId21" Type="http://schemas.openxmlformats.org/officeDocument/2006/relationships/image" Target="../media/image23.png"/><Relationship Id="rId7" Type="http://schemas.microsoft.com/office/2007/relationships/hdphoto" Target="../media/hdphoto2.wdp"/><Relationship Id="rId12" Type="http://schemas.openxmlformats.org/officeDocument/2006/relationships/image" Target="../media/image17.png"/><Relationship Id="rId17" Type="http://schemas.openxmlformats.org/officeDocument/2006/relationships/image" Target="../media/image20.png"/><Relationship Id="rId2" Type="http://schemas.openxmlformats.org/officeDocument/2006/relationships/image" Target="../media/image10.png"/><Relationship Id="rId16" Type="http://schemas.microsoft.com/office/2007/relationships/hdphoto" Target="../media/hdphoto5.wdp"/><Relationship Id="rId20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11" Type="http://schemas.openxmlformats.org/officeDocument/2006/relationships/image" Target="../media/image16.png"/><Relationship Id="rId5" Type="http://schemas.openxmlformats.org/officeDocument/2006/relationships/image" Target="../media/image12.png"/><Relationship Id="rId15" Type="http://schemas.openxmlformats.org/officeDocument/2006/relationships/image" Target="../media/image19.png"/><Relationship Id="rId23" Type="http://schemas.openxmlformats.org/officeDocument/2006/relationships/image" Target="../media/image24.png"/><Relationship Id="rId10" Type="http://schemas.microsoft.com/office/2007/relationships/hdphoto" Target="../media/hdphoto3.wdp"/><Relationship Id="rId19" Type="http://schemas.microsoft.com/office/2007/relationships/hdphoto" Target="../media/hdphoto6.wdp"/><Relationship Id="rId4" Type="http://schemas.microsoft.com/office/2007/relationships/hdphoto" Target="../media/hdphoto1.wdp"/><Relationship Id="rId9" Type="http://schemas.openxmlformats.org/officeDocument/2006/relationships/image" Target="../media/image15.png"/><Relationship Id="rId14" Type="http://schemas.openxmlformats.org/officeDocument/2006/relationships/image" Target="../media/image18.png"/><Relationship Id="rId22" Type="http://schemas.microsoft.com/office/2007/relationships/hdphoto" Target="../media/hdphoto7.wdp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25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6F16389-E8B9-4DEC-A80C-6A9DC0D84D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37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6F16389-E8B9-4DEC-A80C-6A9DC0D84D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FACB92-DF5A-4400-AA4D-954830BAB2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AD4FE1-9E37-084D-B5CD-5C8B5F316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81001" y="381000"/>
            <a:ext cx="5334000" cy="1518442"/>
          </a:xfrm>
        </p:spPr>
        <p:txBody>
          <a:bodyPr lIns="0" rIns="0" anchor="t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800"/>
            </a:lvl1pPr>
          </a:lstStyle>
          <a:p>
            <a:r>
              <a:rPr lang="en-US"/>
              <a:t>What are you here </a:t>
            </a:r>
            <a:br>
              <a:rPr lang="en-US"/>
            </a:br>
            <a:r>
              <a:rPr lang="en-US"/>
              <a:t>to say? Set the tone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8B117B-053B-D74C-BAD6-ABB3754D8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81001" y="2667000"/>
            <a:ext cx="5334000" cy="1143000"/>
          </a:xfrm>
        </p:spPr>
        <p:txBody>
          <a:bodyPr lIns="0" rIns="0"/>
          <a:lstStyle>
            <a:lvl1pPr marL="0" indent="952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000" b="1"/>
            </a:lvl1pPr>
            <a:lvl2pPr marL="0" marR="0" indent="9525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2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3pPr>
            <a:lvl4pPr marL="0" indent="9525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4pPr>
            <a:lvl5pPr marL="0" indent="-1819275" algn="l">
              <a:spcAft>
                <a:spcPts val="0"/>
              </a:spcAft>
              <a:buNone/>
              <a:tabLst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/>
              <a:t>Add supporting detail</a:t>
            </a:r>
          </a:p>
          <a:p>
            <a:pPr lvl="1"/>
            <a:r>
              <a:rPr lang="en-US"/>
              <a:t>Date</a:t>
            </a:r>
          </a:p>
        </p:txBody>
      </p:sp>
      <p:sp>
        <p:nvSpPr>
          <p:cNvPr id="15" name="Picture Placeholder 33">
            <a:extLst>
              <a:ext uri="{FF2B5EF4-FFF2-40B4-BE49-F238E27FC236}">
                <a16:creationId xmlns:a16="http://schemas.microsoft.com/office/drawing/2014/main" id="{1D5CCC86-3F10-B647-A528-00A82173898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6102350" y="0"/>
            <a:ext cx="6089650" cy="6858000"/>
          </a:xfrm>
          <a:custGeom>
            <a:avLst/>
            <a:gdLst>
              <a:gd name="connsiteX0" fmla="*/ 0 w 6089650"/>
              <a:gd name="connsiteY0" fmla="*/ 0 h 6858000"/>
              <a:gd name="connsiteX1" fmla="*/ 1595374 w 6089650"/>
              <a:gd name="connsiteY1" fmla="*/ 0 h 6858000"/>
              <a:gd name="connsiteX2" fmla="*/ 1595374 w 6089650"/>
              <a:gd name="connsiteY2" fmla="*/ 2523300 h 6858000"/>
              <a:gd name="connsiteX3" fmla="*/ 2028381 w 6089650"/>
              <a:gd name="connsiteY3" fmla="*/ 2523300 h 6858000"/>
              <a:gd name="connsiteX4" fmla="*/ 4196207 w 6089650"/>
              <a:gd name="connsiteY4" fmla="*/ 0 h 6858000"/>
              <a:gd name="connsiteX5" fmla="*/ 6089650 w 6089650"/>
              <a:gd name="connsiteY5" fmla="*/ 0 h 6858000"/>
              <a:gd name="connsiteX6" fmla="*/ 6089650 w 6089650"/>
              <a:gd name="connsiteY6" fmla="*/ 149543 h 6858000"/>
              <a:gd name="connsiteX7" fmla="*/ 3336607 w 6089650"/>
              <a:gd name="connsiteY7" fmla="*/ 3429000 h 6858000"/>
              <a:gd name="connsiteX8" fmla="*/ 6089650 w 6089650"/>
              <a:gd name="connsiteY8" fmla="*/ 6708394 h 6858000"/>
              <a:gd name="connsiteX9" fmla="*/ 6089650 w 6089650"/>
              <a:gd name="connsiteY9" fmla="*/ 6858000 h 6858000"/>
              <a:gd name="connsiteX10" fmla="*/ 4197350 w 6089650"/>
              <a:gd name="connsiteY10" fmla="*/ 6858000 h 6858000"/>
              <a:gd name="connsiteX11" fmla="*/ 2049907 w 6089650"/>
              <a:gd name="connsiteY11" fmla="*/ 4309428 h 6858000"/>
              <a:gd name="connsiteX12" fmla="*/ 1595311 w 6089650"/>
              <a:gd name="connsiteY12" fmla="*/ 4309301 h 6858000"/>
              <a:gd name="connsiteX13" fmla="*/ 1595311 w 6089650"/>
              <a:gd name="connsiteY13" fmla="*/ 6858000 h 6858000"/>
              <a:gd name="connsiteX14" fmla="*/ 0 w 6089650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089650" h="6858000">
                <a:moveTo>
                  <a:pt x="0" y="0"/>
                </a:moveTo>
                <a:lnTo>
                  <a:pt x="1595374" y="0"/>
                </a:lnTo>
                <a:lnTo>
                  <a:pt x="1595374" y="2523300"/>
                </a:lnTo>
                <a:lnTo>
                  <a:pt x="2028381" y="2523300"/>
                </a:lnTo>
                <a:lnTo>
                  <a:pt x="4196207" y="0"/>
                </a:lnTo>
                <a:lnTo>
                  <a:pt x="6089650" y="0"/>
                </a:lnTo>
                <a:lnTo>
                  <a:pt x="6089650" y="149543"/>
                </a:lnTo>
                <a:lnTo>
                  <a:pt x="3336607" y="3429000"/>
                </a:lnTo>
                <a:lnTo>
                  <a:pt x="6089650" y="6708394"/>
                </a:lnTo>
                <a:lnTo>
                  <a:pt x="6089650" y="6858000"/>
                </a:lnTo>
                <a:lnTo>
                  <a:pt x="4197350" y="6858000"/>
                </a:lnTo>
                <a:lnTo>
                  <a:pt x="2049907" y="4309428"/>
                </a:lnTo>
                <a:lnTo>
                  <a:pt x="1595311" y="4309301"/>
                </a:lnTo>
                <a:lnTo>
                  <a:pt x="159531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algn="l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imag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5B1E1F9-B553-404E-B4A0-E71530CCD4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49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4045209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2855914" y="-1587"/>
            <a:ext cx="324008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B7CCCB-F6CD-F24D-9CF5-FE9F81B12F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43525" cy="83099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FEF0F-449D-494E-B003-BA0DE42F6122}"/>
              </a:ext>
            </a:extLst>
          </p:cNvPr>
          <p:cNvSpPr>
            <a:spLocks noGrp="1"/>
          </p:cNvSpPr>
          <p:nvPr>
            <p:ph sz="half" idx="1"/>
          </p:nvPr>
        </p:nvSpPr>
        <p:spPr bwMode="gray">
          <a:xfrm>
            <a:off x="381001" y="1905000"/>
            <a:ext cx="5334000" cy="4187824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  <a:lvl3pPr marL="359156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538734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A243C-D223-024A-A211-1CD96C903785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476999" y="1905000"/>
            <a:ext cx="5334001" cy="4187825"/>
          </a:xfrm>
        </p:spPr>
        <p:txBody>
          <a:bodyPr/>
          <a:lstStyle>
            <a:lvl2pPr marL="177800" indent="-177800"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20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897343-393D-0E44-A97B-2079B348B1F9}"/>
              </a:ext>
            </a:extLst>
          </p:cNvPr>
          <p:cNvSpPr/>
          <p:nvPr userDrawn="1"/>
        </p:nvSpPr>
        <p:spPr bwMode="gray">
          <a:xfrm>
            <a:off x="3044825" y="0"/>
            <a:ext cx="4575175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2631238-F440-4B1F-8D7B-809C61CB62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95ABA3D-BEC2-4D38-9AFA-4954F306F25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04175" y="381000"/>
            <a:ext cx="3806826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D8852F4-3A40-41CF-8793-5F648FBC7E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429000" y="381000"/>
            <a:ext cx="3810000" cy="3701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Heading: Make your point.</a:t>
            </a:r>
          </a:p>
        </p:txBody>
      </p:sp>
    </p:spTree>
    <p:extLst>
      <p:ext uri="{BB962C8B-B14F-4D97-AF65-F5344CB8AC3E}">
        <p14:creationId xmlns:p14="http://schemas.microsoft.com/office/powerpoint/2010/main" val="2128133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726B13-8A06-4C2F-B3E2-C6E4FDCB9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19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726B13-8A06-4C2F-B3E2-C6E4FDCB9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4DD698-12A5-415B-97E6-9C6DBEB91E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A1EFBD-66C8-4081-AADF-2B4A352FE64D}"/>
              </a:ext>
            </a:extLst>
          </p:cNvPr>
          <p:cNvSpPr/>
          <p:nvPr userDrawn="1"/>
        </p:nvSpPr>
        <p:spPr bwMode="gray">
          <a:xfrm>
            <a:off x="0" y="-1587"/>
            <a:ext cx="6096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7508A2-A0AF-4811-ACA1-FC84D131531A}"/>
              </a:ext>
            </a:extLst>
          </p:cNvPr>
          <p:cNvSpPr/>
          <p:nvPr userDrawn="1"/>
        </p:nvSpPr>
        <p:spPr bwMode="gray">
          <a:xfrm>
            <a:off x="-7168" y="3048000"/>
            <a:ext cx="6101581" cy="381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icture Placeholder 21">
            <a:extLst>
              <a:ext uri="{FF2B5EF4-FFF2-40B4-BE49-F238E27FC236}">
                <a16:creationId xmlns:a16="http://schemas.microsoft.com/office/drawing/2014/main" id="{3448625E-017A-4951-9ED5-25641345A0F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22550" y="-1587"/>
            <a:ext cx="2373449" cy="26685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pictu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1D364477-0314-4F10-9D10-E2EF9653C5E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81000" y="3163395"/>
            <a:ext cx="2667000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Areas of Expertis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7FD24E3-E069-4B35-9C18-F463735BC89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3428999" y="3163395"/>
            <a:ext cx="2286001" cy="193899"/>
          </a:xfrm>
        </p:spPr>
        <p:txBody>
          <a:bodyPr wrap="square" lIns="0" tIns="0" rIns="0" bIns="0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Edu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3B904A-F76F-4A89-9C9D-B0B0D1D3C3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urname Name</a:t>
            </a:r>
            <a:br>
              <a:rPr lang="en-US"/>
            </a:br>
            <a:r>
              <a:rPr lang="en-US" b="0"/>
              <a:t>Position, Office, Country</a:t>
            </a:r>
            <a:endParaRPr lang="en-US"/>
          </a:p>
        </p:txBody>
      </p:sp>
      <p:grpSp>
        <p:nvGrpSpPr>
          <p:cNvPr id="35" name="Graphic 19">
            <a:extLst>
              <a:ext uri="{FF2B5EF4-FFF2-40B4-BE49-F238E27FC236}">
                <a16:creationId xmlns:a16="http://schemas.microsoft.com/office/drawing/2014/main" id="{0DF2BC8F-BD6E-4BED-A9DD-8DCAEA9A50D4}"/>
              </a:ext>
            </a:extLst>
          </p:cNvPr>
          <p:cNvGrpSpPr/>
          <p:nvPr userDrawn="1"/>
        </p:nvGrpSpPr>
        <p:grpSpPr bwMode="gray">
          <a:xfrm>
            <a:off x="758825" y="6383803"/>
            <a:ext cx="765175" cy="90021"/>
            <a:chOff x="1562100" y="2895600"/>
            <a:chExt cx="9067800" cy="1066800"/>
          </a:xfrm>
          <a:solidFill>
            <a:schemeClr val="tx1"/>
          </a:solidFill>
        </p:grpSpPr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AC1D5788-EC41-4A64-9CD3-6E3CB88E41EC}"/>
                </a:ext>
              </a:extLst>
            </p:cNvPr>
            <p:cNvSpPr/>
            <p:nvPr/>
          </p:nvSpPr>
          <p:spPr bwMode="gray">
            <a:xfrm>
              <a:off x="4104322" y="2895600"/>
              <a:ext cx="1124140" cy="1070576"/>
            </a:xfrm>
            <a:custGeom>
              <a:avLst/>
              <a:gdLst>
                <a:gd name="connsiteX0" fmla="*/ 684086 w 1124140"/>
                <a:gd name="connsiteY0" fmla="*/ 0 h 1070576"/>
                <a:gd name="connsiteX1" fmla="*/ 439103 w 1124140"/>
                <a:gd name="connsiteY1" fmla="*/ 0 h 1070576"/>
                <a:gd name="connsiteX2" fmla="*/ 0 w 1124140"/>
                <a:gd name="connsiteY2" fmla="*/ 1070482 h 1070576"/>
                <a:gd name="connsiteX3" fmla="*/ 142875 w 1124140"/>
                <a:gd name="connsiteY3" fmla="*/ 1070482 h 1070576"/>
                <a:gd name="connsiteX4" fmla="*/ 258985 w 1124140"/>
                <a:gd name="connsiteY4" fmla="*/ 783579 h 1070576"/>
                <a:gd name="connsiteX5" fmla="*/ 859060 w 1124140"/>
                <a:gd name="connsiteY5" fmla="*/ 783579 h 1070576"/>
                <a:gd name="connsiteX6" fmla="*/ 975741 w 1124140"/>
                <a:gd name="connsiteY6" fmla="*/ 1070576 h 1070576"/>
                <a:gd name="connsiteX7" fmla="*/ 1124141 w 1124140"/>
                <a:gd name="connsiteY7" fmla="*/ 1070576 h 1070576"/>
                <a:gd name="connsiteX8" fmla="*/ 310420 w 1124140"/>
                <a:gd name="connsiteY8" fmla="*/ 656224 h 1070576"/>
                <a:gd name="connsiteX9" fmla="*/ 522922 w 1124140"/>
                <a:gd name="connsiteY9" fmla="*/ 133964 h 1070576"/>
                <a:gd name="connsiteX10" fmla="*/ 595503 w 1124140"/>
                <a:gd name="connsiteY10" fmla="*/ 133964 h 1070576"/>
                <a:gd name="connsiteX11" fmla="*/ 807053 w 1124140"/>
                <a:gd name="connsiteY11" fmla="*/ 656224 h 1070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24140" h="1070576">
                  <a:moveTo>
                    <a:pt x="684086" y="0"/>
                  </a:moveTo>
                  <a:lnTo>
                    <a:pt x="439103" y="0"/>
                  </a:lnTo>
                  <a:lnTo>
                    <a:pt x="0" y="1070482"/>
                  </a:lnTo>
                  <a:lnTo>
                    <a:pt x="142875" y="1070482"/>
                  </a:lnTo>
                  <a:lnTo>
                    <a:pt x="258985" y="783579"/>
                  </a:lnTo>
                  <a:lnTo>
                    <a:pt x="859060" y="783579"/>
                  </a:lnTo>
                  <a:lnTo>
                    <a:pt x="975741" y="1070576"/>
                  </a:lnTo>
                  <a:lnTo>
                    <a:pt x="1124141" y="1070576"/>
                  </a:lnTo>
                  <a:close/>
                  <a:moveTo>
                    <a:pt x="310420" y="656224"/>
                  </a:moveTo>
                  <a:lnTo>
                    <a:pt x="522922" y="133964"/>
                  </a:lnTo>
                  <a:lnTo>
                    <a:pt x="595503" y="133964"/>
                  </a:lnTo>
                  <a:lnTo>
                    <a:pt x="807053" y="65622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009902B4-2695-4527-B5C8-31F48F2A9654}"/>
                </a:ext>
              </a:extLst>
            </p:cNvPr>
            <p:cNvSpPr/>
            <p:nvPr/>
          </p:nvSpPr>
          <p:spPr bwMode="gray">
            <a:xfrm>
              <a:off x="9544050" y="2895600"/>
              <a:ext cx="1090041" cy="1070481"/>
            </a:xfrm>
            <a:custGeom>
              <a:avLst/>
              <a:gdLst>
                <a:gd name="connsiteX0" fmla="*/ 616458 w 1090041"/>
                <a:gd name="connsiteY0" fmla="*/ 625447 h 1070481"/>
                <a:gd name="connsiteX1" fmla="*/ 616458 w 1090041"/>
                <a:gd name="connsiteY1" fmla="*/ 1070482 h 1070481"/>
                <a:gd name="connsiteX2" fmla="*/ 475679 w 1090041"/>
                <a:gd name="connsiteY2" fmla="*/ 1070482 h 1070481"/>
                <a:gd name="connsiteX3" fmla="*/ 475679 w 1090041"/>
                <a:gd name="connsiteY3" fmla="*/ 623936 h 1070481"/>
                <a:gd name="connsiteX4" fmla="*/ 0 w 1090041"/>
                <a:gd name="connsiteY4" fmla="*/ 0 h 1070481"/>
                <a:gd name="connsiteX5" fmla="*/ 168402 w 1090041"/>
                <a:gd name="connsiteY5" fmla="*/ 0 h 1070481"/>
                <a:gd name="connsiteX6" fmla="*/ 545020 w 1090041"/>
                <a:gd name="connsiteY6" fmla="*/ 495448 h 1070481"/>
                <a:gd name="connsiteX7" fmla="*/ 926306 w 1090041"/>
                <a:gd name="connsiteY7" fmla="*/ 0 h 1070481"/>
                <a:gd name="connsiteX8" fmla="*/ 1090041 w 1090041"/>
                <a:gd name="connsiteY8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0041" h="1070481">
                  <a:moveTo>
                    <a:pt x="616458" y="625447"/>
                  </a:moveTo>
                  <a:lnTo>
                    <a:pt x="616458" y="1070482"/>
                  </a:lnTo>
                  <a:lnTo>
                    <a:pt x="475679" y="1070482"/>
                  </a:lnTo>
                  <a:lnTo>
                    <a:pt x="475679" y="623936"/>
                  </a:lnTo>
                  <a:lnTo>
                    <a:pt x="0" y="0"/>
                  </a:lnTo>
                  <a:lnTo>
                    <a:pt x="168402" y="0"/>
                  </a:lnTo>
                  <a:lnTo>
                    <a:pt x="545020" y="495448"/>
                  </a:lnTo>
                  <a:lnTo>
                    <a:pt x="926306" y="0"/>
                  </a:lnTo>
                  <a:lnTo>
                    <a:pt x="1090041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:a16="http://schemas.microsoft.com/office/drawing/2014/main" id="{D3AD1063-D2B8-4B6A-A86D-08AD8E37AAD7}"/>
                </a:ext>
              </a:extLst>
            </p:cNvPr>
            <p:cNvSpPr/>
            <p:nvPr/>
          </p:nvSpPr>
          <p:spPr bwMode="gray">
            <a:xfrm>
              <a:off x="2901981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398 w 885825"/>
                <a:gd name="connsiteY5" fmla="*/ 126128 h 1070481"/>
                <a:gd name="connsiteX6" fmla="*/ 132398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398 w 885825"/>
                <a:gd name="connsiteY9" fmla="*/ 598730 h 1070481"/>
                <a:gd name="connsiteX10" fmla="*/ 132398 w 885825"/>
                <a:gd name="connsiteY10" fmla="*/ 944071 h 1070481"/>
                <a:gd name="connsiteX11" fmla="*/ 885825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398" y="126128"/>
                  </a:lnTo>
                  <a:lnTo>
                    <a:pt x="132398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398" y="598730"/>
                  </a:lnTo>
                  <a:lnTo>
                    <a:pt x="132398" y="944071"/>
                  </a:lnTo>
                  <a:lnTo>
                    <a:pt x="885825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:a16="http://schemas.microsoft.com/office/drawing/2014/main" id="{27E78175-02A9-436A-96A2-9F5365F56578}"/>
                </a:ext>
              </a:extLst>
            </p:cNvPr>
            <p:cNvSpPr/>
            <p:nvPr/>
          </p:nvSpPr>
          <p:spPr bwMode="gray">
            <a:xfrm>
              <a:off x="8383238" y="2895600"/>
              <a:ext cx="885825" cy="1070481"/>
            </a:xfrm>
            <a:custGeom>
              <a:avLst/>
              <a:gdLst>
                <a:gd name="connsiteX0" fmla="*/ 885825 w 885825"/>
                <a:gd name="connsiteY0" fmla="*/ 1070482 h 1070481"/>
                <a:gd name="connsiteX1" fmla="*/ 0 w 885825"/>
                <a:gd name="connsiteY1" fmla="*/ 1070482 h 1070481"/>
                <a:gd name="connsiteX2" fmla="*/ 0 w 885825"/>
                <a:gd name="connsiteY2" fmla="*/ 0 h 1070481"/>
                <a:gd name="connsiteX3" fmla="*/ 885825 w 885825"/>
                <a:gd name="connsiteY3" fmla="*/ 0 h 1070481"/>
                <a:gd name="connsiteX4" fmla="*/ 885825 w 885825"/>
                <a:gd name="connsiteY4" fmla="*/ 126128 h 1070481"/>
                <a:gd name="connsiteX5" fmla="*/ 132112 w 885825"/>
                <a:gd name="connsiteY5" fmla="*/ 126128 h 1070481"/>
                <a:gd name="connsiteX6" fmla="*/ 132112 w 885825"/>
                <a:gd name="connsiteY6" fmla="*/ 472035 h 1070481"/>
                <a:gd name="connsiteX7" fmla="*/ 796004 w 885825"/>
                <a:gd name="connsiteY7" fmla="*/ 472035 h 1070481"/>
                <a:gd name="connsiteX8" fmla="*/ 796004 w 885825"/>
                <a:gd name="connsiteY8" fmla="*/ 598730 h 1070481"/>
                <a:gd name="connsiteX9" fmla="*/ 132112 w 885825"/>
                <a:gd name="connsiteY9" fmla="*/ 598730 h 1070481"/>
                <a:gd name="connsiteX10" fmla="*/ 132112 w 885825"/>
                <a:gd name="connsiteY10" fmla="*/ 944071 h 1070481"/>
                <a:gd name="connsiteX11" fmla="*/ 885539 w 885825"/>
                <a:gd name="connsiteY11" fmla="*/ 944071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825" h="1070481">
                  <a:moveTo>
                    <a:pt x="885825" y="1070482"/>
                  </a:moveTo>
                  <a:lnTo>
                    <a:pt x="0" y="1070482"/>
                  </a:lnTo>
                  <a:lnTo>
                    <a:pt x="0" y="0"/>
                  </a:lnTo>
                  <a:lnTo>
                    <a:pt x="885825" y="0"/>
                  </a:lnTo>
                  <a:lnTo>
                    <a:pt x="885825" y="126128"/>
                  </a:lnTo>
                  <a:lnTo>
                    <a:pt x="132112" y="126128"/>
                  </a:lnTo>
                  <a:lnTo>
                    <a:pt x="132112" y="472035"/>
                  </a:lnTo>
                  <a:lnTo>
                    <a:pt x="796004" y="472035"/>
                  </a:lnTo>
                  <a:lnTo>
                    <a:pt x="796004" y="598730"/>
                  </a:lnTo>
                  <a:lnTo>
                    <a:pt x="132112" y="598730"/>
                  </a:lnTo>
                  <a:lnTo>
                    <a:pt x="132112" y="944071"/>
                  </a:lnTo>
                  <a:lnTo>
                    <a:pt x="885539" y="9440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17E9070A-F511-4A5B-9153-39FEE2463F81}"/>
                </a:ext>
              </a:extLst>
            </p:cNvPr>
            <p:cNvSpPr/>
            <p:nvPr/>
          </p:nvSpPr>
          <p:spPr bwMode="gray">
            <a:xfrm>
              <a:off x="6931818" y="2895600"/>
              <a:ext cx="977741" cy="1070481"/>
            </a:xfrm>
            <a:custGeom>
              <a:avLst/>
              <a:gdLst>
                <a:gd name="connsiteX0" fmla="*/ 977742 w 977741"/>
                <a:gd name="connsiteY0" fmla="*/ 1070482 h 1070481"/>
                <a:gd name="connsiteX1" fmla="*/ 856774 w 977741"/>
                <a:gd name="connsiteY1" fmla="*/ 1070482 h 1070481"/>
                <a:gd name="connsiteX2" fmla="*/ 137065 w 977741"/>
                <a:gd name="connsiteY2" fmla="*/ 241588 h 1070481"/>
                <a:gd name="connsiteX3" fmla="*/ 136303 w 977741"/>
                <a:gd name="connsiteY3" fmla="*/ 1070482 h 1070481"/>
                <a:gd name="connsiteX4" fmla="*/ 0 w 977741"/>
                <a:gd name="connsiteY4" fmla="*/ 1070482 h 1070481"/>
                <a:gd name="connsiteX5" fmla="*/ 0 w 977741"/>
                <a:gd name="connsiteY5" fmla="*/ 0 h 1070481"/>
                <a:gd name="connsiteX6" fmla="*/ 120968 w 977741"/>
                <a:gd name="connsiteY6" fmla="*/ 0 h 1070481"/>
                <a:gd name="connsiteX7" fmla="*/ 841343 w 977741"/>
                <a:gd name="connsiteY7" fmla="*/ 830782 h 1070481"/>
                <a:gd name="connsiteX8" fmla="*/ 841343 w 977741"/>
                <a:gd name="connsiteY8" fmla="*/ 0 h 1070481"/>
                <a:gd name="connsiteX9" fmla="*/ 977742 w 977741"/>
                <a:gd name="connsiteY9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77741" h="1070481">
                  <a:moveTo>
                    <a:pt x="977742" y="1070482"/>
                  </a:moveTo>
                  <a:lnTo>
                    <a:pt x="856774" y="1070482"/>
                  </a:lnTo>
                  <a:lnTo>
                    <a:pt x="137065" y="241588"/>
                  </a:lnTo>
                  <a:lnTo>
                    <a:pt x="136303" y="1070482"/>
                  </a:lnTo>
                  <a:lnTo>
                    <a:pt x="0" y="1070482"/>
                  </a:lnTo>
                  <a:lnTo>
                    <a:pt x="0" y="0"/>
                  </a:lnTo>
                  <a:lnTo>
                    <a:pt x="120968" y="0"/>
                  </a:lnTo>
                  <a:lnTo>
                    <a:pt x="841343" y="830782"/>
                  </a:lnTo>
                  <a:lnTo>
                    <a:pt x="841343" y="0"/>
                  </a:lnTo>
                  <a:lnTo>
                    <a:pt x="977742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241166F2-3E56-4401-B77D-EB0307B39A0C}"/>
                </a:ext>
              </a:extLst>
            </p:cNvPr>
            <p:cNvSpPr/>
            <p:nvPr/>
          </p:nvSpPr>
          <p:spPr bwMode="gray">
            <a:xfrm>
              <a:off x="1562100" y="2895600"/>
              <a:ext cx="978312" cy="1070481"/>
            </a:xfrm>
            <a:custGeom>
              <a:avLst/>
              <a:gdLst>
                <a:gd name="connsiteX0" fmla="*/ 978313 w 978312"/>
                <a:gd name="connsiteY0" fmla="*/ 0 h 1070481"/>
                <a:gd name="connsiteX1" fmla="*/ 793147 w 978312"/>
                <a:gd name="connsiteY1" fmla="*/ 0 h 1070481"/>
                <a:gd name="connsiteX2" fmla="*/ 322421 w 978312"/>
                <a:gd name="connsiteY2" fmla="*/ 468354 h 1070481"/>
                <a:gd name="connsiteX3" fmla="*/ 136398 w 978312"/>
                <a:gd name="connsiteY3" fmla="*/ 468354 h 1070481"/>
                <a:gd name="connsiteX4" fmla="*/ 136398 w 978312"/>
                <a:gd name="connsiteY4" fmla="*/ 0 h 1070481"/>
                <a:gd name="connsiteX5" fmla="*/ 0 w 978312"/>
                <a:gd name="connsiteY5" fmla="*/ 0 h 1070481"/>
                <a:gd name="connsiteX6" fmla="*/ 0 w 978312"/>
                <a:gd name="connsiteY6" fmla="*/ 1070482 h 1070481"/>
                <a:gd name="connsiteX7" fmla="*/ 136398 w 978312"/>
                <a:gd name="connsiteY7" fmla="*/ 1070482 h 1070481"/>
                <a:gd name="connsiteX8" fmla="*/ 136398 w 978312"/>
                <a:gd name="connsiteY8" fmla="*/ 602034 h 1070481"/>
                <a:gd name="connsiteX9" fmla="*/ 321945 w 978312"/>
                <a:gd name="connsiteY9" fmla="*/ 602034 h 1070481"/>
                <a:gd name="connsiteX10" fmla="*/ 793147 w 978312"/>
                <a:gd name="connsiteY10" fmla="*/ 1070482 h 1070481"/>
                <a:gd name="connsiteX11" fmla="*/ 978313 w 978312"/>
                <a:gd name="connsiteY11" fmla="*/ 1070482 h 1070481"/>
                <a:gd name="connsiteX12" fmla="*/ 448532 w 978312"/>
                <a:gd name="connsiteY12" fmla="*/ 535194 h 1070481"/>
                <a:gd name="connsiteX13" fmla="*/ 978313 w 978312"/>
                <a:gd name="connsiteY13" fmla="*/ 0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78312" h="1070481">
                  <a:moveTo>
                    <a:pt x="978313" y="0"/>
                  </a:moveTo>
                  <a:lnTo>
                    <a:pt x="793147" y="0"/>
                  </a:lnTo>
                  <a:lnTo>
                    <a:pt x="322421" y="468354"/>
                  </a:lnTo>
                  <a:lnTo>
                    <a:pt x="136398" y="468354"/>
                  </a:lnTo>
                  <a:lnTo>
                    <a:pt x="136398" y="0"/>
                  </a:lnTo>
                  <a:lnTo>
                    <a:pt x="0" y="0"/>
                  </a:lnTo>
                  <a:lnTo>
                    <a:pt x="0" y="1070482"/>
                  </a:lnTo>
                  <a:lnTo>
                    <a:pt x="136398" y="1070482"/>
                  </a:lnTo>
                  <a:lnTo>
                    <a:pt x="136398" y="602034"/>
                  </a:lnTo>
                  <a:lnTo>
                    <a:pt x="321945" y="602034"/>
                  </a:lnTo>
                  <a:lnTo>
                    <a:pt x="793147" y="1070482"/>
                  </a:lnTo>
                  <a:lnTo>
                    <a:pt x="978313" y="1070482"/>
                  </a:lnTo>
                  <a:lnTo>
                    <a:pt x="448532" y="535194"/>
                  </a:lnTo>
                  <a:lnTo>
                    <a:pt x="9783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5F257939-AA22-4BDE-B164-A41F0FA3F5A1}"/>
                </a:ext>
              </a:extLst>
            </p:cNvPr>
            <p:cNvSpPr/>
            <p:nvPr/>
          </p:nvSpPr>
          <p:spPr bwMode="gray">
            <a:xfrm>
              <a:off x="5589174" y="2895600"/>
              <a:ext cx="973550" cy="1070481"/>
            </a:xfrm>
            <a:custGeom>
              <a:avLst/>
              <a:gdLst>
                <a:gd name="connsiteX0" fmla="*/ 973550 w 973550"/>
                <a:gd name="connsiteY0" fmla="*/ 1070482 h 1070481"/>
                <a:gd name="connsiteX1" fmla="*/ 613220 w 973550"/>
                <a:gd name="connsiteY1" fmla="*/ 596653 h 1070481"/>
                <a:gd name="connsiteX2" fmla="*/ 689991 w 973550"/>
                <a:gd name="connsiteY2" fmla="*/ 586457 h 1070481"/>
                <a:gd name="connsiteX3" fmla="*/ 909066 w 973550"/>
                <a:gd name="connsiteY3" fmla="*/ 298987 h 1070481"/>
                <a:gd name="connsiteX4" fmla="*/ 530733 w 973550"/>
                <a:gd name="connsiteY4" fmla="*/ 0 h 1070481"/>
                <a:gd name="connsiteX5" fmla="*/ 0 w 973550"/>
                <a:gd name="connsiteY5" fmla="*/ 0 h 1070481"/>
                <a:gd name="connsiteX6" fmla="*/ 0 w 973550"/>
                <a:gd name="connsiteY6" fmla="*/ 1070482 h 1070481"/>
                <a:gd name="connsiteX7" fmla="*/ 135826 w 973550"/>
                <a:gd name="connsiteY7" fmla="*/ 1070482 h 1070481"/>
                <a:gd name="connsiteX8" fmla="*/ 135826 w 973550"/>
                <a:gd name="connsiteY8" fmla="*/ 598447 h 1070481"/>
                <a:gd name="connsiteX9" fmla="*/ 446341 w 973550"/>
                <a:gd name="connsiteY9" fmla="*/ 598447 h 1070481"/>
                <a:gd name="connsiteX10" fmla="*/ 806101 w 973550"/>
                <a:gd name="connsiteY10" fmla="*/ 1070482 h 1070481"/>
                <a:gd name="connsiteX11" fmla="*/ 136017 w 973550"/>
                <a:gd name="connsiteY11" fmla="*/ 126411 h 1070481"/>
                <a:gd name="connsiteX12" fmla="*/ 527875 w 973550"/>
                <a:gd name="connsiteY12" fmla="*/ 126411 h 1070481"/>
                <a:gd name="connsiteX13" fmla="*/ 767715 w 973550"/>
                <a:gd name="connsiteY13" fmla="*/ 299270 h 1070481"/>
                <a:gd name="connsiteX14" fmla="*/ 527685 w 973550"/>
                <a:gd name="connsiteY14" fmla="*/ 472035 h 1070481"/>
                <a:gd name="connsiteX15" fmla="*/ 135826 w 973550"/>
                <a:gd name="connsiteY15" fmla="*/ 472035 h 1070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73550" h="1070481">
                  <a:moveTo>
                    <a:pt x="973550" y="1070482"/>
                  </a:moveTo>
                  <a:lnTo>
                    <a:pt x="613220" y="596653"/>
                  </a:lnTo>
                  <a:cubicBezTo>
                    <a:pt x="639056" y="595418"/>
                    <a:pt x="664739" y="592007"/>
                    <a:pt x="689991" y="586457"/>
                  </a:cubicBezTo>
                  <a:cubicBezTo>
                    <a:pt x="822674" y="544823"/>
                    <a:pt x="909066" y="443902"/>
                    <a:pt x="909066" y="298987"/>
                  </a:cubicBezTo>
                  <a:cubicBezTo>
                    <a:pt x="908685" y="103848"/>
                    <a:pt x="773525" y="0"/>
                    <a:pt x="530733" y="0"/>
                  </a:cubicBezTo>
                  <a:lnTo>
                    <a:pt x="0" y="0"/>
                  </a:lnTo>
                  <a:lnTo>
                    <a:pt x="0" y="1070482"/>
                  </a:lnTo>
                  <a:lnTo>
                    <a:pt x="135826" y="1070482"/>
                  </a:lnTo>
                  <a:lnTo>
                    <a:pt x="135826" y="598447"/>
                  </a:lnTo>
                  <a:lnTo>
                    <a:pt x="446341" y="598447"/>
                  </a:lnTo>
                  <a:lnTo>
                    <a:pt x="806101" y="1070482"/>
                  </a:lnTo>
                  <a:close/>
                  <a:moveTo>
                    <a:pt x="136017" y="126411"/>
                  </a:moveTo>
                  <a:lnTo>
                    <a:pt x="527875" y="126411"/>
                  </a:lnTo>
                  <a:cubicBezTo>
                    <a:pt x="684466" y="126411"/>
                    <a:pt x="767715" y="185416"/>
                    <a:pt x="767715" y="299270"/>
                  </a:cubicBezTo>
                  <a:cubicBezTo>
                    <a:pt x="767715" y="413125"/>
                    <a:pt x="686562" y="472035"/>
                    <a:pt x="527685" y="472035"/>
                  </a:cubicBezTo>
                  <a:lnTo>
                    <a:pt x="135826" y="47203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3D7114F-F639-4ADE-A59A-1DE07A41E53F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6B08D16-5AA2-494D-9218-A5A958D9A79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477000" y="381000"/>
            <a:ext cx="5334000" cy="5707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AFDCE-ECF6-47EB-A6F5-69ECA2AEC7D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429000" y="3429000"/>
            <a:ext cx="2286000" cy="2615375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1C7F46-3F09-480F-8300-B47FB5A4F4B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3429000"/>
            <a:ext cx="2667000" cy="2617377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/>
            </a:lvl1pPr>
            <a:lvl2pPr>
              <a:spcBef>
                <a:spcPts val="600"/>
              </a:spcBef>
              <a:spcAft>
                <a:spcPts val="0"/>
              </a:spcAft>
              <a:defRPr/>
            </a:lvl2pPr>
            <a:lvl3pPr>
              <a:spcBef>
                <a:spcPts val="600"/>
              </a:spcBef>
              <a:spcAft>
                <a:spcPts val="0"/>
              </a:spcAft>
              <a:defRPr/>
            </a:lvl3pPr>
            <a:lvl4pPr>
              <a:spcBef>
                <a:spcPts val="600"/>
              </a:spcBef>
              <a:spcAft>
                <a:spcPts val="0"/>
              </a:spcAft>
              <a:defRPr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020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i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F66653-A36B-46DE-BBD0-F01F92C14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47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F66653-A36B-46DE-BBD0-F01F92C14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D7010FC-D5EC-4F40-BF84-C3A559032E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F5CAB5-F976-4C40-89AE-9A89E9C4AC4F}"/>
              </a:ext>
            </a:extLst>
          </p:cNvPr>
          <p:cNvSpPr/>
          <p:nvPr userDrawn="1"/>
        </p:nvSpPr>
        <p:spPr bwMode="gray">
          <a:xfrm>
            <a:off x="3048002" y="0"/>
            <a:ext cx="304799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B78D11-144A-4B42-AA51-7E5FE4BFDAC3}"/>
              </a:ext>
            </a:extLst>
          </p:cNvPr>
          <p:cNvSpPr/>
          <p:nvPr userDrawn="1"/>
        </p:nvSpPr>
        <p:spPr bwMode="gray">
          <a:xfrm>
            <a:off x="6096000" y="0"/>
            <a:ext cx="3048000" cy="6858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err="1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CF47EE3-F5CB-4E44-BC68-EC24C6779C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48000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796EB4AD-659A-9A47-B141-976732FEBC0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096000" y="0"/>
            <a:ext cx="3048000" cy="2663825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8DFD1BD5-98E0-0947-9140-940DFF97013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9147359" y="0"/>
            <a:ext cx="3048000" cy="2663825"/>
          </a:xfrm>
          <a:solidFill>
            <a:srgbClr val="E6E6E6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4CBE62D-52E2-4C4C-AF6E-96D1E57076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29001" y="3048000"/>
            <a:ext cx="2285999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1C3C4FE2-D60A-3C44-A1A2-F63809BB1ED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77001" y="3048000"/>
            <a:ext cx="228600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39E6F826-10D9-8247-8889-29223C7F84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525000" y="3048000"/>
            <a:ext cx="2289360" cy="304800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>
                <a:solidFill>
                  <a:schemeClr val="tx2"/>
                </a:solidFill>
              </a:defRPr>
            </a:lvl2pPr>
            <a:lvl3pPr marL="0" indent="0">
              <a:spcBef>
                <a:spcPts val="1200"/>
              </a:spcBef>
              <a:spcAft>
                <a:spcPts val="0"/>
              </a:spcAft>
              <a:buNone/>
              <a:tabLst/>
              <a:defRPr b="1"/>
            </a:lvl3pPr>
            <a:lvl4pPr marL="18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4pPr>
            <a:lvl5pPr marL="360000" indent="-180000"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tabLst/>
              <a:defRPr/>
            </a:lvl5pPr>
          </a:lstStyle>
          <a:p>
            <a:pPr lvl="0"/>
            <a:r>
              <a:rPr lang="en-US"/>
              <a:t>Name and Surname</a:t>
            </a:r>
          </a:p>
          <a:p>
            <a:pPr lvl="1"/>
            <a:r>
              <a:rPr lang="en-US"/>
              <a:t>Job title and location second level</a:t>
            </a:r>
          </a:p>
          <a:p>
            <a:pPr lvl="2"/>
            <a:r>
              <a:rPr lang="en-US"/>
              <a:t>Summary of experience third level</a:t>
            </a:r>
          </a:p>
          <a:p>
            <a:pPr lvl="3"/>
            <a:r>
              <a:rPr lang="en-US"/>
              <a:t>Second level bullet</a:t>
            </a:r>
          </a:p>
          <a:p>
            <a:pPr lvl="4"/>
            <a:r>
              <a:rPr lang="en-US"/>
              <a:t>Third level bullet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9468541-A21A-46F7-AFC4-CBC98C325E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5999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92883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6F4BDBA-8A7A-4151-9891-CE2FF8030BCB}"/>
              </a:ext>
            </a:extLst>
          </p:cNvPr>
          <p:cNvSpPr/>
          <p:nvPr userDrawn="1"/>
        </p:nvSpPr>
        <p:spPr>
          <a:xfrm>
            <a:off x="3048000" y="0"/>
            <a:ext cx="4572000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A6D9F4-AFFE-40C2-A711-D5F9F9523EA2}"/>
              </a:ext>
            </a:extLst>
          </p:cNvPr>
          <p:cNvSpPr/>
          <p:nvPr userDrawn="1"/>
        </p:nvSpPr>
        <p:spPr>
          <a:xfrm>
            <a:off x="3048000" y="3429000"/>
            <a:ext cx="4572000" cy="3429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6F887B0-D81F-4D6E-8490-01166A357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ey message. </a:t>
            </a:r>
            <a:br>
              <a:rPr lang="en-GB"/>
            </a:br>
            <a:r>
              <a:rPr lang="en-GB"/>
              <a:t>If the audience reads just this, it will be enough. Make every word count. Say it like you would in the room.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2F01B772-E707-4318-AFF4-D233B7291D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28973" y="381000"/>
            <a:ext cx="3810000" cy="357499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Situation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9F9E8AE9-DD63-4653-988B-3750118E13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28973" y="3809999"/>
            <a:ext cx="3810000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Approach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7F035056-C297-4E3D-A5DA-D866119582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00999" y="3809999"/>
            <a:ext cx="3810001" cy="37697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GB"/>
              <a:t>Impact</a:t>
            </a:r>
          </a:p>
        </p:txBody>
      </p:sp>
      <p:sp>
        <p:nvSpPr>
          <p:cNvPr id="27" name="Text Placeholder 31">
            <a:extLst>
              <a:ext uri="{FF2B5EF4-FFF2-40B4-BE49-F238E27FC236}">
                <a16:creationId xmlns:a16="http://schemas.microsoft.com/office/drawing/2014/main" id="{FCA46901-ED40-41AA-95AD-ADE9E86C443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428973" y="4187825"/>
            <a:ext cx="381002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3">
            <a:extLst>
              <a:ext uri="{FF2B5EF4-FFF2-40B4-BE49-F238E27FC236}">
                <a16:creationId xmlns:a16="http://schemas.microsoft.com/office/drawing/2014/main" id="{FFC8F3DC-2FB3-4CA7-9006-B6A3370B9E0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00944" y="4186238"/>
            <a:ext cx="3809266" cy="1277273"/>
          </a:xfrm>
        </p:spPr>
        <p:txBody>
          <a:bodyPr wrap="square" lIns="0" tIns="0" rIns="0" bIns="0" anchorCtr="0">
            <a:spAutoFit/>
          </a:bodyPr>
          <a:lstStyle>
            <a:lvl1pPr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36">
            <a:extLst>
              <a:ext uri="{FF2B5EF4-FFF2-40B4-BE49-F238E27FC236}">
                <a16:creationId xmlns:a16="http://schemas.microsoft.com/office/drawing/2014/main" id="{C88F3AC6-38BB-420F-928B-D3D9DAD55B7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428973" y="765175"/>
            <a:ext cx="3810001" cy="1381917"/>
          </a:xfrm>
        </p:spPr>
        <p:txBody>
          <a:bodyPr wrap="square" lIns="0" tIns="0" rIns="0" bIns="0" anchorCtr="0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Picture Placeholder 20">
            <a:extLst>
              <a:ext uri="{FF2B5EF4-FFF2-40B4-BE49-F238E27FC236}">
                <a16:creationId xmlns:a16="http://schemas.microsoft.com/office/drawing/2014/main" id="{B62EDA09-4F38-47EC-8087-3301CDABF20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620000" y="-1"/>
            <a:ext cx="4572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946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96CD57-C0DB-43A8-8C5C-A539549839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20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96CD57-C0DB-43A8-8C5C-A53954983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B228E0-7DFF-492A-AFEB-CD54CE9A63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89A8CE-377D-4B70-A044-B5B63794CD49}"/>
              </a:ext>
            </a:extLst>
          </p:cNvPr>
          <p:cNvSpPr/>
          <p:nvPr userDrawn="1"/>
        </p:nvSpPr>
        <p:spPr bwMode="gray">
          <a:xfrm>
            <a:off x="0" y="1524001"/>
            <a:ext cx="3179676" cy="5333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A699C7-7B2A-FE48-B204-2A35A8621D62}"/>
              </a:ext>
            </a:extLst>
          </p:cNvPr>
          <p:cNvSpPr/>
          <p:nvPr userDrawn="1"/>
        </p:nvSpPr>
        <p:spPr bwMode="gray">
          <a:xfrm>
            <a:off x="0" y="-1587"/>
            <a:ext cx="12192000" cy="1525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416A9F-C813-47A1-BC5C-9781DE143BBC}"/>
              </a:ext>
            </a:extLst>
          </p:cNvPr>
          <p:cNvSpPr txBox="1"/>
          <p:nvPr userDrawn="1"/>
        </p:nvSpPr>
        <p:spPr bwMode="gray">
          <a:xfrm>
            <a:off x="381001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8C368-3382-4C28-AE75-DF7C05ACA19D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E1E1E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E4614CD-0A06-45AD-BFB3-52C98A151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830997"/>
          </a:xfrm>
        </p:spPr>
        <p:txBody>
          <a:bodyPr wrap="square" lIns="0" tIns="0" rIns="0" bIns="0" anchorCtr="0">
            <a:noAutofit/>
          </a:bodyPr>
          <a:lstStyle>
            <a:lvl1pPr>
              <a:defRPr/>
            </a:lvl1pPr>
          </a:lstStyle>
          <a:p>
            <a:r>
              <a:rPr lang="en-US"/>
              <a:t>Key message. If the audience reads just this, it will be enough. Make every word count. Say it like you would in the room.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E5BFCC1-3A56-464E-BF3E-9BA6691720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42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969696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70B7BD-FC9D-4F69-A68F-E0C27C382D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779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70B7BD-FC9D-4F69-A68F-E0C27C382D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22C1CB-4182-4CFE-892E-F42BC6EFB9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0A2A9C-BC2E-E84C-9D64-34631BC47D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81000" y="1143000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E2D8C7B-E137-3948-86A5-8EF55583B6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429001" y="1143000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E76C799-A2B3-8549-BF01-A5E85152A2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81000" y="2283532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EF35F24-23CB-894F-98A8-27315C4DB2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429001" y="2283532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78BA69A-3076-2A40-8C16-4A197F6CC4C1}"/>
              </a:ext>
            </a:extLst>
          </p:cNvPr>
          <p:cNvSpPr/>
          <p:nvPr userDrawn="1"/>
        </p:nvSpPr>
        <p:spPr bwMode="gray">
          <a:xfrm>
            <a:off x="381000" y="5589610"/>
            <a:ext cx="4490864" cy="50321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 document is exclusively intended for selected client employees. Distribution, quotations and duplications – even in the form of extracts – for third parties is only permitted upon prior written consent of Kearney. 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arney used the text and charts compiled in this report in a presentation; they do not represent a complete documentation of the presentation.</a:t>
            </a:r>
          </a:p>
        </p:txBody>
      </p:sp>
      <p:sp>
        <p:nvSpPr>
          <p:cNvPr id="22" name="Picture Placeholder 43">
            <a:extLst>
              <a:ext uri="{FF2B5EF4-FFF2-40B4-BE49-F238E27FC236}">
                <a16:creationId xmlns:a16="http://schemas.microsoft.com/office/drawing/2014/main" id="{763095BA-2E8C-A049-B6E6-B9E92AF228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09600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1858328 w 6096000"/>
              <a:gd name="connsiteY1" fmla="*/ 0 h 6858000"/>
              <a:gd name="connsiteX2" fmla="*/ 3456432 w 6096000"/>
              <a:gd name="connsiteY2" fmla="*/ 2612771 h 6858000"/>
              <a:gd name="connsiteX3" fmla="*/ 5093144 w 6096000"/>
              <a:gd name="connsiteY3" fmla="*/ 0 h 6858000"/>
              <a:gd name="connsiteX4" fmla="*/ 6096000 w 6096000"/>
              <a:gd name="connsiteY4" fmla="*/ 0 h 6858000"/>
              <a:gd name="connsiteX5" fmla="*/ 6096000 w 6096000"/>
              <a:gd name="connsiteY5" fmla="*/ 1283272 h 6858000"/>
              <a:gd name="connsiteX6" fmla="*/ 4272026 w 6096000"/>
              <a:gd name="connsiteY6" fmla="*/ 4115435 h 6858000"/>
              <a:gd name="connsiteX7" fmla="*/ 4272026 w 6096000"/>
              <a:gd name="connsiteY7" fmla="*/ 6858000 h 6858000"/>
              <a:gd name="connsiteX8" fmla="*/ 2650427 w 6096000"/>
              <a:gd name="connsiteY8" fmla="*/ 6858000 h 6858000"/>
              <a:gd name="connsiteX9" fmla="*/ 2650427 w 6096000"/>
              <a:gd name="connsiteY9" fmla="*/ 410629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1858328" y="0"/>
                </a:lnTo>
                <a:lnTo>
                  <a:pt x="3456432" y="2612771"/>
                </a:lnTo>
                <a:lnTo>
                  <a:pt x="5093144" y="0"/>
                </a:lnTo>
                <a:lnTo>
                  <a:pt x="6096000" y="0"/>
                </a:lnTo>
                <a:lnTo>
                  <a:pt x="6096000" y="1283272"/>
                </a:lnTo>
                <a:lnTo>
                  <a:pt x="4272026" y="4115435"/>
                </a:lnTo>
                <a:lnTo>
                  <a:pt x="4272026" y="6858000"/>
                </a:lnTo>
                <a:lnTo>
                  <a:pt x="2650427" y="6858000"/>
                </a:lnTo>
                <a:lnTo>
                  <a:pt x="2650427" y="410629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D08DEC-6623-4781-9EAF-1AEF06E65F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1000" y="3424064"/>
            <a:ext cx="2667000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627CD43-C8BD-456F-B11B-D4CCC5605F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429001" y="3424064"/>
            <a:ext cx="2666999" cy="99263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100" b="1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tabLst/>
              <a:defRPr sz="1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tabLst/>
              <a:defRPr/>
            </a:lvl5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etails</a:t>
            </a:r>
          </a:p>
        </p:txBody>
      </p:sp>
      <p:pic>
        <p:nvPicPr>
          <p:cNvPr id="34" name="Picture 33" descr="A drawing of a face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2A565116-6508-49C7-87EB-B9E5099C28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6715" y="4930812"/>
            <a:ext cx="406400" cy="406400"/>
          </a:xfrm>
          <a:prstGeom prst="rect">
            <a:avLst/>
          </a:prstGeom>
        </p:spPr>
      </p:pic>
      <p:pic>
        <p:nvPicPr>
          <p:cNvPr id="35" name="Picture 34" descr="A picture containing drawing&#10;&#10;Description automatically generated">
            <a:hlinkClick r:id="rId8"/>
            <a:extLst>
              <a:ext uri="{FF2B5EF4-FFF2-40B4-BE49-F238E27FC236}">
                <a16:creationId xmlns:a16="http://schemas.microsoft.com/office/drawing/2014/main" id="{E7007630-77E7-42BB-BAA5-FAF0126C0AB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29640" y="4930812"/>
            <a:ext cx="406400" cy="406400"/>
          </a:xfrm>
          <a:prstGeom prst="rect">
            <a:avLst/>
          </a:prstGeom>
        </p:spPr>
      </p:pic>
      <p:pic>
        <p:nvPicPr>
          <p:cNvPr id="36" name="Picture 35" descr="A picture containing drawing&#10;&#10;Description automatically generated">
            <a:hlinkClick r:id="rId10"/>
            <a:extLst>
              <a:ext uri="{FF2B5EF4-FFF2-40B4-BE49-F238E27FC236}">
                <a16:creationId xmlns:a16="http://schemas.microsoft.com/office/drawing/2014/main" id="{181FE440-240E-4D13-A503-8BD65F04EFB8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472565" y="4930812"/>
            <a:ext cx="406400" cy="406400"/>
          </a:xfrm>
          <a:prstGeom prst="rect">
            <a:avLst/>
          </a:prstGeom>
        </p:spPr>
      </p:pic>
      <p:pic>
        <p:nvPicPr>
          <p:cNvPr id="37" name="Picture 36" descr="A picture containing drawing&#10;&#10;Description automatically generated">
            <a:hlinkClick r:id="rId12"/>
            <a:extLst>
              <a:ext uri="{FF2B5EF4-FFF2-40B4-BE49-F238E27FC236}">
                <a16:creationId xmlns:a16="http://schemas.microsoft.com/office/drawing/2014/main" id="{0937E484-B066-45FF-98FD-C64958D6223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558415" y="4924954"/>
            <a:ext cx="406400" cy="406400"/>
          </a:xfrm>
          <a:prstGeom prst="rect">
            <a:avLst/>
          </a:prstGeom>
        </p:spPr>
      </p:pic>
      <p:pic>
        <p:nvPicPr>
          <p:cNvPr id="38" name="Picture 37" descr="A drawing of a face&#10;&#10;Description automatically generated">
            <a:hlinkClick r:id="rId14"/>
            <a:extLst>
              <a:ext uri="{FF2B5EF4-FFF2-40B4-BE49-F238E27FC236}">
                <a16:creationId xmlns:a16="http://schemas.microsoft.com/office/drawing/2014/main" id="{EDC82321-65DC-4E2A-9F1D-5B9B67135F0E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15490" y="4924954"/>
            <a:ext cx="406400" cy="406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35ABDC-1539-4A58-BE25-E90ADD73869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248400"/>
            <a:ext cx="1905000" cy="2293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4305778-3C35-4F87-95B8-48D34A0EAB57}"/>
              </a:ext>
            </a:extLst>
          </p:cNvPr>
          <p:cNvSpPr/>
          <p:nvPr userDrawn="1"/>
        </p:nvSpPr>
        <p:spPr>
          <a:xfrm>
            <a:off x="381000" y="380999"/>
            <a:ext cx="2286000" cy="3857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3917099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025237"/>
            <a:ext cx="10972800" cy="5061220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477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3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3203" y="1330126"/>
            <a:ext cx="101952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2202CE9-E41D-496E-882D-5AEB0A7CAD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943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3F9F64B-940B-43E0-8291-E8A36A1AE55A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>
          <a:xfrm>
            <a:off x="3428999" y="381001"/>
            <a:ext cx="8382001" cy="5715000"/>
          </a:xfrm>
        </p:spPr>
        <p:txBody>
          <a:bodyPr/>
          <a:lstStyle>
            <a:lvl1pPr>
              <a:spcAft>
                <a:spcPts val="180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/>
            </a:lvl2pPr>
            <a:lvl3pPr marL="177800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359156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4pPr>
            <a:lvl5pPr marL="538734" indent="-177800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6F9B490-F790-4671-9748-99A165BDC8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741387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8421" y="3429000"/>
            <a:ext cx="6705600" cy="121367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ivider</a:t>
            </a:r>
          </a:p>
        </p:txBody>
      </p:sp>
      <p:pic>
        <p:nvPicPr>
          <p:cNvPr id="2" name="Accenture_Technology_WHITE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252578"/>
            <a:ext cx="2023200" cy="324696"/>
          </a:xfrm>
          <a:prstGeom prst="rect">
            <a:avLst/>
          </a:prstGeom>
        </p:spPr>
      </p:pic>
      <p:pic>
        <p:nvPicPr>
          <p:cNvPr id="18" name="Accenture_Strategy_WHITEOUT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522"/>
            <a:ext cx="1728810" cy="328803"/>
          </a:xfrm>
          <a:prstGeom prst="rect">
            <a:avLst/>
          </a:prstGeom>
        </p:spPr>
      </p:pic>
      <p:pic>
        <p:nvPicPr>
          <p:cNvPr id="5" name="Accenture_Strategy_WHITE" hidden="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018" y="6243676"/>
            <a:ext cx="1728000" cy="328649"/>
          </a:xfrm>
          <a:prstGeom prst="rect">
            <a:avLst/>
          </a:prstGeom>
        </p:spPr>
      </p:pic>
      <p:pic>
        <p:nvPicPr>
          <p:cNvPr id="28" name="Accenture_Operations_WHITEOUT" hidden="1"/>
          <p:cNvPicPr>
            <a:picLocks noChangeAspect="1"/>
          </p:cNvPicPr>
          <p:nvPr userDrawn="1"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538" y="6249458"/>
            <a:ext cx="1972800" cy="326942"/>
          </a:xfrm>
          <a:prstGeom prst="rect">
            <a:avLst/>
          </a:prstGeom>
        </p:spPr>
      </p:pic>
      <p:pic>
        <p:nvPicPr>
          <p:cNvPr id="7" name="Accenture_Operations_WHITE" hidden="1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538" y="6249458"/>
            <a:ext cx="1972800" cy="326942"/>
          </a:xfrm>
          <a:prstGeom prst="rect">
            <a:avLst/>
          </a:prstGeom>
        </p:spPr>
      </p:pic>
      <p:pic>
        <p:nvPicPr>
          <p:cNvPr id="30" name="Accenture_Mobility_WHITEOUT" hidden="1"/>
          <p:cNvPicPr>
            <a:picLocks noChangeAspect="1"/>
          </p:cNvPicPr>
          <p:nvPr userDrawn="1"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12" name="Accenture_Mobility_WHITE" hidden="1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6341042"/>
            <a:ext cx="2044800" cy="362152"/>
          </a:xfrm>
          <a:prstGeom prst="rect">
            <a:avLst/>
          </a:prstGeom>
        </p:spPr>
      </p:pic>
      <p:pic>
        <p:nvPicPr>
          <p:cNvPr id="29" name="Accenture_Interactive_WHITEOUT" hidden="1"/>
          <p:cNvPicPr>
            <a:picLocks noChangeAspect="1"/>
          </p:cNvPicPr>
          <p:nvPr userDrawn="1"/>
        </p:nvPicPr>
        <p:blipFill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10" name="Accenture_Interactive_WHITE" hidden="1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41000"/>
            <a:ext cx="2041200" cy="360863"/>
          </a:xfrm>
          <a:prstGeom prst="rect">
            <a:avLst/>
          </a:prstGeom>
        </p:spPr>
      </p:pic>
      <p:pic>
        <p:nvPicPr>
          <p:cNvPr id="27" name="Accenture_Analytics_WHITEOUT" hidden="1"/>
          <p:cNvPicPr>
            <a:picLocks noChangeAspect="1"/>
          </p:cNvPicPr>
          <p:nvPr userDrawn="1"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6" name="Accenture_Analytics_WHITE" hidden="1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8" y="6338829"/>
            <a:ext cx="2023200" cy="362168"/>
          </a:xfrm>
          <a:prstGeom prst="rect">
            <a:avLst/>
          </a:prstGeom>
        </p:spPr>
      </p:pic>
      <p:pic>
        <p:nvPicPr>
          <p:cNvPr id="16" name="Accenture_Digital_WHITEOUT" hidden="1"/>
          <p:cNvPicPr>
            <a:picLocks noChangeAspect="1"/>
          </p:cNvPicPr>
          <p:nvPr userDrawn="1"/>
        </p:nvPicPr>
        <p:blipFill>
          <a:blip r:embed="rId18" cstate="email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019"/>
            <a:ext cx="1545637" cy="331832"/>
          </a:xfrm>
          <a:prstGeom prst="rect">
            <a:avLst/>
          </a:prstGeom>
        </p:spPr>
      </p:pic>
      <p:pic>
        <p:nvPicPr>
          <p:cNvPr id="8" name="Accenture_Digital_WHITE" hidden="1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280" y="6246285"/>
            <a:ext cx="1544400" cy="331566"/>
          </a:xfrm>
          <a:prstGeom prst="rect">
            <a:avLst/>
          </a:prstGeom>
        </p:spPr>
      </p:pic>
      <p:pic>
        <p:nvPicPr>
          <p:cNvPr id="15" name="Accenture_Consulting_WHITEOUT" hidden="1"/>
          <p:cNvPicPr>
            <a:picLocks noChangeAspect="1"/>
          </p:cNvPicPr>
          <p:nvPr userDrawn="1"/>
        </p:nvPicPr>
        <p:blipFill>
          <a:blip r:embed="rId21" cstate="email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799" y="6244783"/>
            <a:ext cx="1942440" cy="330692"/>
          </a:xfrm>
          <a:prstGeom prst="rect">
            <a:avLst/>
          </a:prstGeom>
        </p:spPr>
      </p:pic>
      <p:pic>
        <p:nvPicPr>
          <p:cNvPr id="4" name="Accenture_Consulting_WHITE" hidden="1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239" y="6244518"/>
            <a:ext cx="1944000" cy="330957"/>
          </a:xfrm>
          <a:prstGeom prst="rect">
            <a:avLst/>
          </a:prstGeom>
        </p:spPr>
      </p:pic>
      <p:grpSp>
        <p:nvGrpSpPr>
          <p:cNvPr id="23" name="Accenture_Master" hidden="1"/>
          <p:cNvGrpSpPr/>
          <p:nvPr userDrawn="1"/>
        </p:nvGrpSpPr>
        <p:grpSpPr>
          <a:xfrm>
            <a:off x="345019" y="6246662"/>
            <a:ext cx="957526" cy="277705"/>
            <a:chOff x="457202" y="420673"/>
            <a:chExt cx="2182661" cy="633434"/>
          </a:xfrm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457202" y="668790"/>
              <a:ext cx="2182661" cy="385317"/>
            </a:xfrm>
            <a:custGeom>
              <a:avLst/>
              <a:gdLst>
                <a:gd name="T0" fmla="*/ 35 w 765"/>
                <a:gd name="T1" fmla="*/ 118 h 135"/>
                <a:gd name="T2" fmla="*/ 56 w 765"/>
                <a:gd name="T3" fmla="*/ 88 h 135"/>
                <a:gd name="T4" fmla="*/ 78 w 765"/>
                <a:gd name="T5" fmla="*/ 62 h 135"/>
                <a:gd name="T6" fmla="*/ 4 w 765"/>
                <a:gd name="T7" fmla="*/ 62 h 135"/>
                <a:gd name="T8" fmla="*/ 42 w 765"/>
                <a:gd name="T9" fmla="*/ 47 h 135"/>
                <a:gd name="T10" fmla="*/ 56 w 765"/>
                <a:gd name="T11" fmla="*/ 75 h 135"/>
                <a:gd name="T12" fmla="*/ 30 w 765"/>
                <a:gd name="T13" fmla="*/ 135 h 135"/>
                <a:gd name="T14" fmla="*/ 56 w 765"/>
                <a:gd name="T15" fmla="*/ 121 h 135"/>
                <a:gd name="T16" fmla="*/ 78 w 765"/>
                <a:gd name="T17" fmla="*/ 132 h 135"/>
                <a:gd name="T18" fmla="*/ 132 w 765"/>
                <a:gd name="T19" fmla="*/ 47 h 135"/>
                <a:gd name="T20" fmla="*/ 154 w 765"/>
                <a:gd name="T21" fmla="*/ 118 h 135"/>
                <a:gd name="T22" fmla="*/ 171 w 765"/>
                <a:gd name="T23" fmla="*/ 130 h 135"/>
                <a:gd name="T24" fmla="*/ 88 w 765"/>
                <a:gd name="T25" fmla="*/ 78 h 135"/>
                <a:gd name="T26" fmla="*/ 172 w 765"/>
                <a:gd name="T27" fmla="*/ 67 h 135"/>
                <a:gd name="T28" fmla="*/ 236 w 765"/>
                <a:gd name="T29" fmla="*/ 67 h 135"/>
                <a:gd name="T30" fmla="*/ 202 w 765"/>
                <a:gd name="T31" fmla="*/ 74 h 135"/>
                <a:gd name="T32" fmla="*/ 260 w 765"/>
                <a:gd name="T33" fmla="*/ 116 h 135"/>
                <a:gd name="T34" fmla="*/ 231 w 765"/>
                <a:gd name="T35" fmla="*/ 135 h 135"/>
                <a:gd name="T36" fmla="*/ 223 w 765"/>
                <a:gd name="T37" fmla="*/ 31 h 135"/>
                <a:gd name="T38" fmla="*/ 236 w 765"/>
                <a:gd name="T39" fmla="*/ 67 h 135"/>
                <a:gd name="T40" fmla="*/ 291 w 765"/>
                <a:gd name="T41" fmla="*/ 63 h 135"/>
                <a:gd name="T42" fmla="*/ 327 w 765"/>
                <a:gd name="T43" fmla="*/ 63 h 135"/>
                <a:gd name="T44" fmla="*/ 349 w 765"/>
                <a:gd name="T45" fmla="*/ 71 h 135"/>
                <a:gd name="T46" fmla="*/ 269 w 765"/>
                <a:gd name="T47" fmla="*/ 77 h 135"/>
                <a:gd name="T48" fmla="*/ 347 w 765"/>
                <a:gd name="T49" fmla="*/ 131 h 135"/>
                <a:gd name="T50" fmla="*/ 328 w 765"/>
                <a:gd name="T51" fmla="*/ 118 h 135"/>
                <a:gd name="T52" fmla="*/ 349 w 765"/>
                <a:gd name="T53" fmla="*/ 77 h 135"/>
                <a:gd name="T54" fmla="*/ 418 w 765"/>
                <a:gd name="T55" fmla="*/ 76 h 135"/>
                <a:gd name="T56" fmla="*/ 408 w 765"/>
                <a:gd name="T57" fmla="*/ 52 h 135"/>
                <a:gd name="T58" fmla="*/ 384 w 765"/>
                <a:gd name="T59" fmla="*/ 132 h 135"/>
                <a:gd name="T60" fmla="*/ 361 w 765"/>
                <a:gd name="T61" fmla="*/ 33 h 135"/>
                <a:gd name="T62" fmla="*/ 384 w 765"/>
                <a:gd name="T63" fmla="*/ 51 h 135"/>
                <a:gd name="T64" fmla="*/ 414 w 765"/>
                <a:gd name="T65" fmla="*/ 31 h 135"/>
                <a:gd name="T66" fmla="*/ 441 w 765"/>
                <a:gd name="T67" fmla="*/ 132 h 135"/>
                <a:gd name="T68" fmla="*/ 489 w 765"/>
                <a:gd name="T69" fmla="*/ 49 h 135"/>
                <a:gd name="T70" fmla="*/ 505 w 765"/>
                <a:gd name="T71" fmla="*/ 118 h 135"/>
                <a:gd name="T72" fmla="*/ 516 w 765"/>
                <a:gd name="T73" fmla="*/ 133 h 135"/>
                <a:gd name="T74" fmla="*/ 466 w 765"/>
                <a:gd name="T75" fmla="*/ 107 h 135"/>
                <a:gd name="T76" fmla="*/ 447 w 765"/>
                <a:gd name="T77" fmla="*/ 49 h 135"/>
                <a:gd name="T78" fmla="*/ 466 w 765"/>
                <a:gd name="T79" fmla="*/ 33 h 135"/>
                <a:gd name="T80" fmla="*/ 489 w 765"/>
                <a:gd name="T81" fmla="*/ 0 h 135"/>
                <a:gd name="T82" fmla="*/ 519 w 765"/>
                <a:gd name="T83" fmla="*/ 33 h 135"/>
                <a:gd name="T84" fmla="*/ 489 w 765"/>
                <a:gd name="T85" fmla="*/ 49 h 135"/>
                <a:gd name="T86" fmla="*/ 586 w 765"/>
                <a:gd name="T87" fmla="*/ 114 h 135"/>
                <a:gd name="T88" fmla="*/ 556 w 765"/>
                <a:gd name="T89" fmla="*/ 135 h 135"/>
                <a:gd name="T90" fmla="*/ 529 w 765"/>
                <a:gd name="T91" fmla="*/ 33 h 135"/>
                <a:gd name="T92" fmla="*/ 552 w 765"/>
                <a:gd name="T93" fmla="*/ 90 h 135"/>
                <a:gd name="T94" fmla="*/ 563 w 765"/>
                <a:gd name="T95" fmla="*/ 113 h 135"/>
                <a:gd name="T96" fmla="*/ 586 w 765"/>
                <a:gd name="T97" fmla="*/ 33 h 135"/>
                <a:gd name="T98" fmla="*/ 609 w 765"/>
                <a:gd name="T99" fmla="*/ 132 h 135"/>
                <a:gd name="T100" fmla="*/ 647 w 765"/>
                <a:gd name="T101" fmla="*/ 89 h 135"/>
                <a:gd name="T102" fmla="*/ 624 w 765"/>
                <a:gd name="T103" fmla="*/ 132 h 135"/>
                <a:gd name="T104" fmla="*/ 647 w 765"/>
                <a:gd name="T105" fmla="*/ 33 h 135"/>
                <a:gd name="T106" fmla="*/ 648 w 765"/>
                <a:gd name="T107" fmla="*/ 51 h 135"/>
                <a:gd name="T108" fmla="*/ 680 w 765"/>
                <a:gd name="T109" fmla="*/ 55 h 135"/>
                <a:gd name="T110" fmla="*/ 743 w 765"/>
                <a:gd name="T111" fmla="*/ 63 h 135"/>
                <a:gd name="T112" fmla="*/ 726 w 765"/>
                <a:gd name="T113" fmla="*/ 45 h 135"/>
                <a:gd name="T114" fmla="*/ 765 w 765"/>
                <a:gd name="T115" fmla="*/ 77 h 135"/>
                <a:gd name="T116" fmla="*/ 727 w 765"/>
                <a:gd name="T117" fmla="*/ 31 h 135"/>
                <a:gd name="T118" fmla="*/ 735 w 765"/>
                <a:gd name="T119" fmla="*/ 135 h 135"/>
                <a:gd name="T120" fmla="*/ 763 w 765"/>
                <a:gd name="T121" fmla="*/ 115 h 135"/>
                <a:gd name="T122" fmla="*/ 706 w 765"/>
                <a:gd name="T123" fmla="*/ 7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5" h="135">
                  <a:moveTo>
                    <a:pt x="56" y="88"/>
                  </a:moveTo>
                  <a:cubicBezTo>
                    <a:pt x="56" y="101"/>
                    <a:pt x="51" y="118"/>
                    <a:pt x="35" y="118"/>
                  </a:cubicBezTo>
                  <a:cubicBezTo>
                    <a:pt x="28" y="118"/>
                    <a:pt x="23" y="114"/>
                    <a:pt x="23" y="106"/>
                  </a:cubicBezTo>
                  <a:cubicBezTo>
                    <a:pt x="23" y="91"/>
                    <a:pt x="45" y="88"/>
                    <a:pt x="56" y="88"/>
                  </a:cubicBezTo>
                  <a:close/>
                  <a:moveTo>
                    <a:pt x="78" y="13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38"/>
                    <a:pt x="63" y="31"/>
                    <a:pt x="42" y="31"/>
                  </a:cubicBezTo>
                  <a:cubicBezTo>
                    <a:pt x="21" y="31"/>
                    <a:pt x="4" y="39"/>
                    <a:pt x="4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52"/>
                    <a:pt x="32" y="47"/>
                    <a:pt x="42" y="47"/>
                  </a:cubicBezTo>
                  <a:cubicBezTo>
                    <a:pt x="53" y="47"/>
                    <a:pt x="56" y="55"/>
                    <a:pt x="56" y="6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33" y="76"/>
                    <a:pt x="0" y="79"/>
                    <a:pt x="0" y="109"/>
                  </a:cubicBezTo>
                  <a:cubicBezTo>
                    <a:pt x="0" y="125"/>
                    <a:pt x="14" y="135"/>
                    <a:pt x="30" y="135"/>
                  </a:cubicBezTo>
                  <a:cubicBezTo>
                    <a:pt x="41" y="135"/>
                    <a:pt x="51" y="131"/>
                    <a:pt x="56" y="121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56" y="132"/>
                    <a:pt x="56" y="132"/>
                    <a:pt x="56" y="132"/>
                  </a:cubicBezTo>
                  <a:lnTo>
                    <a:pt x="78" y="132"/>
                  </a:lnTo>
                  <a:close/>
                  <a:moveTo>
                    <a:pt x="147" y="67"/>
                  </a:moveTo>
                  <a:cubicBezTo>
                    <a:pt x="147" y="57"/>
                    <a:pt x="144" y="47"/>
                    <a:pt x="132" y="47"/>
                  </a:cubicBezTo>
                  <a:cubicBezTo>
                    <a:pt x="117" y="47"/>
                    <a:pt x="113" y="62"/>
                    <a:pt x="113" y="74"/>
                  </a:cubicBezTo>
                  <a:cubicBezTo>
                    <a:pt x="113" y="99"/>
                    <a:pt x="128" y="118"/>
                    <a:pt x="154" y="118"/>
                  </a:cubicBezTo>
                  <a:cubicBezTo>
                    <a:pt x="160" y="118"/>
                    <a:pt x="165" y="118"/>
                    <a:pt x="171" y="116"/>
                  </a:cubicBezTo>
                  <a:cubicBezTo>
                    <a:pt x="171" y="130"/>
                    <a:pt x="171" y="130"/>
                    <a:pt x="171" y="130"/>
                  </a:cubicBezTo>
                  <a:cubicBezTo>
                    <a:pt x="161" y="133"/>
                    <a:pt x="151" y="135"/>
                    <a:pt x="142" y="135"/>
                  </a:cubicBezTo>
                  <a:cubicBezTo>
                    <a:pt x="106" y="135"/>
                    <a:pt x="88" y="113"/>
                    <a:pt x="88" y="78"/>
                  </a:cubicBezTo>
                  <a:cubicBezTo>
                    <a:pt x="88" y="49"/>
                    <a:pt x="104" y="31"/>
                    <a:pt x="134" y="31"/>
                  </a:cubicBezTo>
                  <a:cubicBezTo>
                    <a:pt x="158" y="31"/>
                    <a:pt x="172" y="42"/>
                    <a:pt x="172" y="67"/>
                  </a:cubicBezTo>
                  <a:lnTo>
                    <a:pt x="147" y="67"/>
                  </a:lnTo>
                  <a:close/>
                  <a:moveTo>
                    <a:pt x="236" y="67"/>
                  </a:moveTo>
                  <a:cubicBezTo>
                    <a:pt x="236" y="57"/>
                    <a:pt x="233" y="47"/>
                    <a:pt x="221" y="47"/>
                  </a:cubicBezTo>
                  <a:cubicBezTo>
                    <a:pt x="206" y="47"/>
                    <a:pt x="202" y="62"/>
                    <a:pt x="202" y="74"/>
                  </a:cubicBezTo>
                  <a:cubicBezTo>
                    <a:pt x="202" y="99"/>
                    <a:pt x="217" y="118"/>
                    <a:pt x="243" y="118"/>
                  </a:cubicBezTo>
                  <a:cubicBezTo>
                    <a:pt x="249" y="118"/>
                    <a:pt x="254" y="118"/>
                    <a:pt x="260" y="116"/>
                  </a:cubicBezTo>
                  <a:cubicBezTo>
                    <a:pt x="260" y="130"/>
                    <a:pt x="260" y="130"/>
                    <a:pt x="260" y="130"/>
                  </a:cubicBezTo>
                  <a:cubicBezTo>
                    <a:pt x="250" y="133"/>
                    <a:pt x="241" y="135"/>
                    <a:pt x="231" y="135"/>
                  </a:cubicBezTo>
                  <a:cubicBezTo>
                    <a:pt x="195" y="135"/>
                    <a:pt x="177" y="113"/>
                    <a:pt x="177" y="78"/>
                  </a:cubicBezTo>
                  <a:cubicBezTo>
                    <a:pt x="177" y="49"/>
                    <a:pt x="193" y="31"/>
                    <a:pt x="223" y="31"/>
                  </a:cubicBezTo>
                  <a:cubicBezTo>
                    <a:pt x="247" y="31"/>
                    <a:pt x="261" y="42"/>
                    <a:pt x="261" y="67"/>
                  </a:cubicBezTo>
                  <a:lnTo>
                    <a:pt x="236" y="67"/>
                  </a:lnTo>
                  <a:close/>
                  <a:moveTo>
                    <a:pt x="327" y="63"/>
                  </a:moveTo>
                  <a:cubicBezTo>
                    <a:pt x="291" y="63"/>
                    <a:pt x="291" y="63"/>
                    <a:pt x="291" y="63"/>
                  </a:cubicBezTo>
                  <a:cubicBezTo>
                    <a:pt x="292" y="53"/>
                    <a:pt x="300" y="45"/>
                    <a:pt x="310" y="45"/>
                  </a:cubicBezTo>
                  <a:cubicBezTo>
                    <a:pt x="320" y="45"/>
                    <a:pt x="327" y="52"/>
                    <a:pt x="327" y="63"/>
                  </a:cubicBezTo>
                  <a:close/>
                  <a:moveTo>
                    <a:pt x="349" y="77"/>
                  </a:moveTo>
                  <a:cubicBezTo>
                    <a:pt x="349" y="71"/>
                    <a:pt x="349" y="71"/>
                    <a:pt x="349" y="71"/>
                  </a:cubicBezTo>
                  <a:cubicBezTo>
                    <a:pt x="349" y="47"/>
                    <a:pt x="337" y="31"/>
                    <a:pt x="311" y="31"/>
                  </a:cubicBezTo>
                  <a:cubicBezTo>
                    <a:pt x="282" y="31"/>
                    <a:pt x="269" y="49"/>
                    <a:pt x="269" y="77"/>
                  </a:cubicBezTo>
                  <a:cubicBezTo>
                    <a:pt x="269" y="110"/>
                    <a:pt x="283" y="135"/>
                    <a:pt x="319" y="135"/>
                  </a:cubicBezTo>
                  <a:cubicBezTo>
                    <a:pt x="328" y="135"/>
                    <a:pt x="338" y="134"/>
                    <a:pt x="347" y="131"/>
                  </a:cubicBezTo>
                  <a:cubicBezTo>
                    <a:pt x="347" y="115"/>
                    <a:pt x="347" y="115"/>
                    <a:pt x="347" y="115"/>
                  </a:cubicBezTo>
                  <a:cubicBezTo>
                    <a:pt x="341" y="117"/>
                    <a:pt x="334" y="118"/>
                    <a:pt x="328" y="118"/>
                  </a:cubicBezTo>
                  <a:cubicBezTo>
                    <a:pt x="305" y="118"/>
                    <a:pt x="290" y="98"/>
                    <a:pt x="290" y="77"/>
                  </a:cubicBezTo>
                  <a:lnTo>
                    <a:pt x="349" y="77"/>
                  </a:lnTo>
                  <a:close/>
                  <a:moveTo>
                    <a:pt x="418" y="132"/>
                  </a:moveTo>
                  <a:cubicBezTo>
                    <a:pt x="418" y="76"/>
                    <a:pt x="418" y="76"/>
                    <a:pt x="418" y="76"/>
                  </a:cubicBezTo>
                  <a:cubicBezTo>
                    <a:pt x="418" y="71"/>
                    <a:pt x="418" y="58"/>
                    <a:pt x="414" y="54"/>
                  </a:cubicBezTo>
                  <a:cubicBezTo>
                    <a:pt x="413" y="53"/>
                    <a:pt x="410" y="52"/>
                    <a:pt x="408" y="52"/>
                  </a:cubicBezTo>
                  <a:cubicBezTo>
                    <a:pt x="391" y="52"/>
                    <a:pt x="384" y="76"/>
                    <a:pt x="384" y="89"/>
                  </a:cubicBezTo>
                  <a:cubicBezTo>
                    <a:pt x="384" y="132"/>
                    <a:pt x="384" y="132"/>
                    <a:pt x="384" y="132"/>
                  </a:cubicBezTo>
                  <a:cubicBezTo>
                    <a:pt x="361" y="132"/>
                    <a:pt x="361" y="132"/>
                    <a:pt x="361" y="132"/>
                  </a:cubicBezTo>
                  <a:cubicBezTo>
                    <a:pt x="361" y="33"/>
                    <a:pt x="361" y="33"/>
                    <a:pt x="361" y="33"/>
                  </a:cubicBezTo>
                  <a:cubicBezTo>
                    <a:pt x="384" y="33"/>
                    <a:pt x="384" y="33"/>
                    <a:pt x="384" y="33"/>
                  </a:cubicBezTo>
                  <a:cubicBezTo>
                    <a:pt x="384" y="51"/>
                    <a:pt x="384" y="51"/>
                    <a:pt x="384" y="51"/>
                  </a:cubicBezTo>
                  <a:cubicBezTo>
                    <a:pt x="385" y="51"/>
                    <a:pt x="385" y="51"/>
                    <a:pt x="385" y="51"/>
                  </a:cubicBezTo>
                  <a:cubicBezTo>
                    <a:pt x="390" y="39"/>
                    <a:pt x="400" y="31"/>
                    <a:pt x="414" y="31"/>
                  </a:cubicBezTo>
                  <a:cubicBezTo>
                    <a:pt x="433" y="31"/>
                    <a:pt x="441" y="46"/>
                    <a:pt x="441" y="63"/>
                  </a:cubicBezTo>
                  <a:cubicBezTo>
                    <a:pt x="441" y="132"/>
                    <a:pt x="441" y="132"/>
                    <a:pt x="441" y="132"/>
                  </a:cubicBezTo>
                  <a:lnTo>
                    <a:pt x="418" y="132"/>
                  </a:lnTo>
                  <a:close/>
                  <a:moveTo>
                    <a:pt x="489" y="49"/>
                  </a:moveTo>
                  <a:cubicBezTo>
                    <a:pt x="489" y="96"/>
                    <a:pt x="489" y="96"/>
                    <a:pt x="489" y="96"/>
                  </a:cubicBezTo>
                  <a:cubicBezTo>
                    <a:pt x="489" y="108"/>
                    <a:pt x="491" y="118"/>
                    <a:pt x="505" y="118"/>
                  </a:cubicBezTo>
                  <a:cubicBezTo>
                    <a:pt x="509" y="118"/>
                    <a:pt x="512" y="118"/>
                    <a:pt x="516" y="117"/>
                  </a:cubicBezTo>
                  <a:cubicBezTo>
                    <a:pt x="516" y="133"/>
                    <a:pt x="516" y="133"/>
                    <a:pt x="516" y="133"/>
                  </a:cubicBezTo>
                  <a:cubicBezTo>
                    <a:pt x="510" y="134"/>
                    <a:pt x="503" y="135"/>
                    <a:pt x="497" y="135"/>
                  </a:cubicBezTo>
                  <a:cubicBezTo>
                    <a:pt x="477" y="135"/>
                    <a:pt x="466" y="128"/>
                    <a:pt x="466" y="107"/>
                  </a:cubicBezTo>
                  <a:cubicBezTo>
                    <a:pt x="466" y="49"/>
                    <a:pt x="466" y="49"/>
                    <a:pt x="466" y="49"/>
                  </a:cubicBezTo>
                  <a:cubicBezTo>
                    <a:pt x="447" y="49"/>
                    <a:pt x="447" y="49"/>
                    <a:pt x="447" y="49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66" y="33"/>
                    <a:pt x="466" y="33"/>
                    <a:pt x="466" y="33"/>
                  </a:cubicBezTo>
                  <a:cubicBezTo>
                    <a:pt x="466" y="9"/>
                    <a:pt x="466" y="9"/>
                    <a:pt x="466" y="9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33"/>
                    <a:pt x="489" y="33"/>
                    <a:pt x="489" y="33"/>
                  </a:cubicBezTo>
                  <a:cubicBezTo>
                    <a:pt x="519" y="33"/>
                    <a:pt x="519" y="33"/>
                    <a:pt x="519" y="33"/>
                  </a:cubicBezTo>
                  <a:cubicBezTo>
                    <a:pt x="519" y="49"/>
                    <a:pt x="519" y="49"/>
                    <a:pt x="519" y="49"/>
                  </a:cubicBezTo>
                  <a:lnTo>
                    <a:pt x="489" y="49"/>
                  </a:lnTo>
                  <a:close/>
                  <a:moveTo>
                    <a:pt x="586" y="132"/>
                  </a:moveTo>
                  <a:cubicBezTo>
                    <a:pt x="586" y="114"/>
                    <a:pt x="586" y="114"/>
                    <a:pt x="586" y="114"/>
                  </a:cubicBezTo>
                  <a:cubicBezTo>
                    <a:pt x="586" y="114"/>
                    <a:pt x="586" y="114"/>
                    <a:pt x="586" y="114"/>
                  </a:cubicBezTo>
                  <a:cubicBezTo>
                    <a:pt x="580" y="126"/>
                    <a:pt x="570" y="135"/>
                    <a:pt x="556" y="135"/>
                  </a:cubicBezTo>
                  <a:cubicBezTo>
                    <a:pt x="537" y="135"/>
                    <a:pt x="529" y="119"/>
                    <a:pt x="529" y="102"/>
                  </a:cubicBezTo>
                  <a:cubicBezTo>
                    <a:pt x="529" y="33"/>
                    <a:pt x="529" y="33"/>
                    <a:pt x="529" y="33"/>
                  </a:cubicBezTo>
                  <a:cubicBezTo>
                    <a:pt x="552" y="33"/>
                    <a:pt x="552" y="33"/>
                    <a:pt x="552" y="33"/>
                  </a:cubicBezTo>
                  <a:cubicBezTo>
                    <a:pt x="552" y="90"/>
                    <a:pt x="552" y="90"/>
                    <a:pt x="552" y="90"/>
                  </a:cubicBezTo>
                  <a:cubicBezTo>
                    <a:pt x="552" y="95"/>
                    <a:pt x="552" y="107"/>
                    <a:pt x="556" y="111"/>
                  </a:cubicBezTo>
                  <a:cubicBezTo>
                    <a:pt x="558" y="113"/>
                    <a:pt x="560" y="113"/>
                    <a:pt x="563" y="113"/>
                  </a:cubicBezTo>
                  <a:cubicBezTo>
                    <a:pt x="579" y="113"/>
                    <a:pt x="586" y="89"/>
                    <a:pt x="586" y="76"/>
                  </a:cubicBezTo>
                  <a:cubicBezTo>
                    <a:pt x="586" y="33"/>
                    <a:pt x="586" y="33"/>
                    <a:pt x="586" y="33"/>
                  </a:cubicBezTo>
                  <a:cubicBezTo>
                    <a:pt x="609" y="33"/>
                    <a:pt x="609" y="33"/>
                    <a:pt x="609" y="33"/>
                  </a:cubicBezTo>
                  <a:cubicBezTo>
                    <a:pt x="609" y="132"/>
                    <a:pt x="609" y="132"/>
                    <a:pt x="609" y="132"/>
                  </a:cubicBezTo>
                  <a:lnTo>
                    <a:pt x="586" y="132"/>
                  </a:lnTo>
                  <a:close/>
                  <a:moveTo>
                    <a:pt x="647" y="89"/>
                  </a:moveTo>
                  <a:cubicBezTo>
                    <a:pt x="647" y="132"/>
                    <a:pt x="647" y="132"/>
                    <a:pt x="647" y="132"/>
                  </a:cubicBezTo>
                  <a:cubicBezTo>
                    <a:pt x="624" y="132"/>
                    <a:pt x="624" y="132"/>
                    <a:pt x="624" y="132"/>
                  </a:cubicBezTo>
                  <a:cubicBezTo>
                    <a:pt x="624" y="33"/>
                    <a:pt x="624" y="33"/>
                    <a:pt x="624" y="33"/>
                  </a:cubicBezTo>
                  <a:cubicBezTo>
                    <a:pt x="647" y="33"/>
                    <a:pt x="647" y="33"/>
                    <a:pt x="647" y="33"/>
                  </a:cubicBezTo>
                  <a:cubicBezTo>
                    <a:pt x="647" y="51"/>
                    <a:pt x="647" y="51"/>
                    <a:pt x="647" y="51"/>
                  </a:cubicBezTo>
                  <a:cubicBezTo>
                    <a:pt x="648" y="51"/>
                    <a:pt x="648" y="51"/>
                    <a:pt x="648" y="51"/>
                  </a:cubicBezTo>
                  <a:cubicBezTo>
                    <a:pt x="655" y="37"/>
                    <a:pt x="663" y="31"/>
                    <a:pt x="680" y="31"/>
                  </a:cubicBezTo>
                  <a:cubicBezTo>
                    <a:pt x="680" y="55"/>
                    <a:pt x="680" y="55"/>
                    <a:pt x="680" y="55"/>
                  </a:cubicBezTo>
                  <a:cubicBezTo>
                    <a:pt x="656" y="55"/>
                    <a:pt x="647" y="65"/>
                    <a:pt x="647" y="89"/>
                  </a:cubicBezTo>
                  <a:close/>
                  <a:moveTo>
                    <a:pt x="743" y="63"/>
                  </a:moveTo>
                  <a:cubicBezTo>
                    <a:pt x="707" y="63"/>
                    <a:pt x="707" y="63"/>
                    <a:pt x="707" y="63"/>
                  </a:cubicBezTo>
                  <a:cubicBezTo>
                    <a:pt x="708" y="53"/>
                    <a:pt x="715" y="45"/>
                    <a:pt x="726" y="45"/>
                  </a:cubicBezTo>
                  <a:cubicBezTo>
                    <a:pt x="736" y="45"/>
                    <a:pt x="743" y="52"/>
                    <a:pt x="743" y="63"/>
                  </a:cubicBezTo>
                  <a:close/>
                  <a:moveTo>
                    <a:pt x="765" y="77"/>
                  </a:moveTo>
                  <a:cubicBezTo>
                    <a:pt x="765" y="71"/>
                    <a:pt x="765" y="71"/>
                    <a:pt x="765" y="71"/>
                  </a:cubicBezTo>
                  <a:cubicBezTo>
                    <a:pt x="765" y="47"/>
                    <a:pt x="753" y="31"/>
                    <a:pt x="727" y="31"/>
                  </a:cubicBezTo>
                  <a:cubicBezTo>
                    <a:pt x="698" y="31"/>
                    <a:pt x="685" y="49"/>
                    <a:pt x="685" y="77"/>
                  </a:cubicBezTo>
                  <a:cubicBezTo>
                    <a:pt x="685" y="110"/>
                    <a:pt x="699" y="135"/>
                    <a:pt x="735" y="135"/>
                  </a:cubicBezTo>
                  <a:cubicBezTo>
                    <a:pt x="744" y="135"/>
                    <a:pt x="754" y="134"/>
                    <a:pt x="763" y="131"/>
                  </a:cubicBezTo>
                  <a:cubicBezTo>
                    <a:pt x="763" y="115"/>
                    <a:pt x="763" y="115"/>
                    <a:pt x="763" y="115"/>
                  </a:cubicBezTo>
                  <a:cubicBezTo>
                    <a:pt x="757" y="117"/>
                    <a:pt x="750" y="118"/>
                    <a:pt x="744" y="118"/>
                  </a:cubicBezTo>
                  <a:cubicBezTo>
                    <a:pt x="721" y="118"/>
                    <a:pt x="706" y="98"/>
                    <a:pt x="706" y="77"/>
                  </a:cubicBezTo>
                  <a:lnTo>
                    <a:pt x="765" y="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1739049" y="420673"/>
              <a:ext cx="210120" cy="21513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srgbClr val="FFFFFF"/>
                </a:solidFill>
              </a:endParaRPr>
            </a:p>
          </p:txBody>
        </p:sp>
      </p:grpSp>
      <p:grpSp>
        <p:nvGrpSpPr>
          <p:cNvPr id="20" name="Group 10" hidden="1"/>
          <p:cNvGrpSpPr>
            <a:grpSpLocks noChangeAspect="1"/>
          </p:cNvGrpSpPr>
          <p:nvPr userDrawn="1"/>
        </p:nvGrpSpPr>
        <p:grpSpPr bwMode="auto">
          <a:xfrm>
            <a:off x="336907" y="342900"/>
            <a:ext cx="2298344" cy="2346169"/>
            <a:chOff x="1292" y="-440"/>
            <a:chExt cx="5094" cy="5200"/>
          </a:xfrm>
        </p:grpSpPr>
        <p:sp>
          <p:nvSpPr>
            <p:cNvPr id="21" name="Freeform 11"/>
            <p:cNvSpPr>
              <a:spLocks/>
            </p:cNvSpPr>
            <p:nvPr userDrawn="1"/>
          </p:nvSpPr>
          <p:spPr bwMode="auto">
            <a:xfrm>
              <a:off x="1292" y="-440"/>
              <a:ext cx="5094" cy="3130"/>
            </a:xfrm>
            <a:custGeom>
              <a:avLst/>
              <a:gdLst>
                <a:gd name="T0" fmla="*/ 2495 w 2495"/>
                <a:gd name="T1" fmla="*/ 1532 h 1532"/>
                <a:gd name="T2" fmla="*/ 2495 w 2495"/>
                <a:gd name="T3" fmla="*/ 1013 h 1532"/>
                <a:gd name="T4" fmla="*/ 0 w 2495"/>
                <a:gd name="T5" fmla="*/ 0 h 1532"/>
                <a:gd name="T6" fmla="*/ 0 w 2495"/>
                <a:gd name="T7" fmla="*/ 565 h 1532"/>
                <a:gd name="T8" fmla="*/ 2494 w 2495"/>
                <a:gd name="T9" fmla="*/ 1532 h 1532"/>
                <a:gd name="T10" fmla="*/ 2495 w 2495"/>
                <a:gd name="T11" fmla="*/ 1532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32">
                  <a:moveTo>
                    <a:pt x="2495" y="1532"/>
                  </a:moveTo>
                  <a:cubicBezTo>
                    <a:pt x="2495" y="1013"/>
                    <a:pt x="2495" y="1013"/>
                    <a:pt x="2495" y="10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812" y="880"/>
                    <a:pt x="1906" y="1304"/>
                    <a:pt x="2494" y="1532"/>
                  </a:cubicBezTo>
                  <a:lnTo>
                    <a:pt x="2495" y="153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 userDrawn="1"/>
          </p:nvSpPr>
          <p:spPr bwMode="auto">
            <a:xfrm>
              <a:off x="1292" y="1644"/>
              <a:ext cx="5094" cy="3116"/>
            </a:xfrm>
            <a:custGeom>
              <a:avLst/>
              <a:gdLst>
                <a:gd name="T0" fmla="*/ 0 w 2495"/>
                <a:gd name="T1" fmla="*/ 961 h 1525"/>
                <a:gd name="T2" fmla="*/ 0 w 2495"/>
                <a:gd name="T3" fmla="*/ 961 h 1525"/>
                <a:gd name="T4" fmla="*/ 0 w 2495"/>
                <a:gd name="T5" fmla="*/ 1525 h 1525"/>
                <a:gd name="T6" fmla="*/ 2495 w 2495"/>
                <a:gd name="T7" fmla="*/ 512 h 1525"/>
                <a:gd name="T8" fmla="*/ 2495 w 2495"/>
                <a:gd name="T9" fmla="*/ 0 h 1525"/>
                <a:gd name="T10" fmla="*/ 0 w 2495"/>
                <a:gd name="T11" fmla="*/ 961 h 1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95" h="1525">
                  <a:moveTo>
                    <a:pt x="0" y="961"/>
                  </a:moveTo>
                  <a:cubicBezTo>
                    <a:pt x="0" y="961"/>
                    <a:pt x="0" y="961"/>
                    <a:pt x="0" y="961"/>
                  </a:cubicBezTo>
                  <a:cubicBezTo>
                    <a:pt x="0" y="1525"/>
                    <a:pt x="0" y="1525"/>
                    <a:pt x="0" y="1525"/>
                  </a:cubicBezTo>
                  <a:cubicBezTo>
                    <a:pt x="2495" y="512"/>
                    <a:pt x="2495" y="512"/>
                    <a:pt x="2495" y="512"/>
                  </a:cubicBezTo>
                  <a:cubicBezTo>
                    <a:pt x="2495" y="0"/>
                    <a:pt x="2495" y="0"/>
                    <a:pt x="2495" y="0"/>
                  </a:cubicBezTo>
                  <a:lnTo>
                    <a:pt x="0" y="961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rgbClr val="000000"/>
                </a:solidFill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B0CCFE21-82F2-4C54-9EF5-982A8609BFCC}"/>
              </a:ext>
            </a:extLst>
          </p:cNvPr>
          <p:cNvSpPr txBox="1"/>
          <p:nvPr userDrawn="1"/>
        </p:nvSpPr>
        <p:spPr>
          <a:xfrm>
            <a:off x="10554349" y="6431966"/>
            <a:ext cx="10413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i="0" smtClean="0">
                <a:solidFill>
                  <a:schemeClr val="bg1">
                    <a:lumMod val="95000"/>
                  </a:schemeClr>
                </a:solidFill>
              </a:rPr>
              <a:pPr algn="r"/>
              <a:t>‹#›</a:t>
            </a:fld>
            <a:endParaRPr lang="en-GB" sz="1100" i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5225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>
            <a:extLst>
              <a:ext uri="{FF2B5EF4-FFF2-40B4-BE49-F238E27FC236}">
                <a16:creationId xmlns:a16="http://schemas.microsoft.com/office/drawing/2014/main" id="{CAD3B74D-0DCD-4B6E-9017-901DA8E49D73}"/>
              </a:ext>
            </a:extLst>
          </p:cNvPr>
          <p:cNvSpPr/>
          <p:nvPr userDrawn="1"/>
        </p:nvSpPr>
        <p:spPr>
          <a:xfrm>
            <a:off x="0" y="0"/>
            <a:ext cx="7768127" cy="6858000"/>
          </a:xfrm>
          <a:prstGeom prst="rect">
            <a:avLst/>
          </a:prstGeom>
          <a:solidFill>
            <a:srgbClr val="6AA84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B88B40-D1B5-493E-B691-E32A9FE800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B88B40-D1B5-493E-B691-E32A9FE80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27">
            <a:extLst>
              <a:ext uri="{FF2B5EF4-FFF2-40B4-BE49-F238E27FC236}">
                <a16:creationId xmlns:a16="http://schemas.microsoft.com/office/drawing/2014/main" id="{09DAA45A-DAA9-4500-8E13-D7427AAA851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249" y="909627"/>
            <a:ext cx="3352692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0" tIns="0" rIns="0" bIns="0" anchor="t" anchorCtr="0" upright="1">
            <a:spAutoFit/>
          </a:bodyPr>
          <a:lstStyle/>
          <a:p>
            <a:pPr marL="0" indent="0" algn="l">
              <a:lnSpc>
                <a:spcPct val="100000"/>
              </a:lnSpc>
              <a:spcAft>
                <a:spcPts val="300"/>
              </a:spcAft>
            </a:pPr>
            <a:r>
              <a:rPr lang="en-IN" sz="5400" b="1" spc="-150">
                <a:solidFill>
                  <a:schemeClr val="bg1"/>
                </a:solidFill>
                <a:effectLst/>
                <a:latin typeface="Arial Black" panose="020B0A04020102020204" pitchFamily="34" charset="0"/>
                <a:ea typeface="Arial" panose="020B0604020202020204" pitchFamily="34" charset="0"/>
              </a:rPr>
              <a:t>THANK YOU</a:t>
            </a:r>
            <a:endParaRPr lang="en-IN" sz="4400" spc="-150">
              <a:solidFill>
                <a:schemeClr val="bg1"/>
              </a:solidFill>
              <a:effectLst/>
              <a:latin typeface="Arial Black" panose="020B0A04020102020204" pitchFamily="34" charset="0"/>
              <a:ea typeface="Arial" panose="020B0604020202020204" pitchFamily="34" charset="0"/>
            </a:endParaRP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480B0C0-FDD8-4D20-820F-D846672A002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9417" y="673336"/>
            <a:ext cx="1643291" cy="1802010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en-IN"/>
              <a:t>&lt;Insert Logo of the Ministry&gt; </a:t>
            </a:r>
          </a:p>
        </p:txBody>
      </p:sp>
    </p:spTree>
    <p:extLst>
      <p:ext uri="{BB962C8B-B14F-4D97-AF65-F5344CB8AC3E}">
        <p14:creationId xmlns:p14="http://schemas.microsoft.com/office/powerpoint/2010/main" val="3103274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342900"/>
            <a:ext cx="10195200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5623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0451B9-1C03-40D8-B819-D536C7D3A6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244ADA-FEB8-4EC0-8735-535F92C81550}" type="datetime1">
              <a:rPr lang="en-US" smtClean="0"/>
              <a:t>3/2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9D51EF-EC40-4FAB-BB8A-DF80DDC075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D45A2D-118F-45A3-AD21-968B12268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0200" y="6356350"/>
            <a:ext cx="2743200" cy="365125"/>
          </a:xfrm>
        </p:spPr>
        <p:txBody>
          <a:bodyPr/>
          <a:lstStyle/>
          <a:p>
            <a:fld id="{097F79FD-AFD0-4FB0-B0C2-D08B8C21CE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686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CAA8CDD-85D5-455D-B49F-664C574260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6237" y="381000"/>
            <a:ext cx="11434763" cy="5335587"/>
          </a:xfrm>
        </p:spPr>
        <p:txBody>
          <a:bodyPr/>
          <a:lstStyle>
            <a:lvl1pPr marL="723900" marR="0" indent="-723900" algn="l" defTabSz="91440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3800" b="1">
                <a:solidFill>
                  <a:schemeClr val="tx2"/>
                </a:solidFill>
              </a:defRPr>
            </a:lvl1pPr>
            <a:lvl2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2pPr>
            <a:lvl3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3pPr>
            <a:lvl4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4pPr>
            <a:lvl5pPr marL="955675" indent="-954088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/>
              <a:defRPr sz="6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2609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065A8-FE0C-4E45-8273-572C0E002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840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065A8-FE0C-4E45-8273-572C0E002B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3D906BB-B766-4A81-982C-FF509E5EC7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1A428E3-848B-4A4F-88B3-C1AC1514859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477001" y="0"/>
            <a:ext cx="5714999" cy="6858000"/>
          </a:xfrm>
          <a:custGeom>
            <a:avLst/>
            <a:gdLst>
              <a:gd name="connsiteX0" fmla="*/ 0 w 5629275"/>
              <a:gd name="connsiteY0" fmla="*/ 0 h 6858000"/>
              <a:gd name="connsiteX1" fmla="*/ 5629275 w 5629275"/>
              <a:gd name="connsiteY1" fmla="*/ 0 h 6858000"/>
              <a:gd name="connsiteX2" fmla="*/ 5629275 w 5629275"/>
              <a:gd name="connsiteY2" fmla="*/ 1423986 h 6858000"/>
              <a:gd name="connsiteX3" fmla="*/ 1566860 w 5629275"/>
              <a:gd name="connsiteY3" fmla="*/ 1423986 h 6858000"/>
              <a:gd name="connsiteX4" fmla="*/ 1566860 w 5629275"/>
              <a:gd name="connsiteY4" fmla="*/ 2709861 h 6858000"/>
              <a:gd name="connsiteX5" fmla="*/ 5072061 w 5629275"/>
              <a:gd name="connsiteY5" fmla="*/ 2709861 h 6858000"/>
              <a:gd name="connsiteX6" fmla="*/ 5072061 w 5629275"/>
              <a:gd name="connsiteY6" fmla="*/ 4204704 h 6858000"/>
              <a:gd name="connsiteX7" fmla="*/ 1566860 w 5629275"/>
              <a:gd name="connsiteY7" fmla="*/ 4204704 h 6858000"/>
              <a:gd name="connsiteX8" fmla="*/ 1566860 w 5629275"/>
              <a:gd name="connsiteY8" fmla="*/ 5386387 h 6858000"/>
              <a:gd name="connsiteX9" fmla="*/ 5629275 w 5629275"/>
              <a:gd name="connsiteY9" fmla="*/ 5386387 h 6858000"/>
              <a:gd name="connsiteX10" fmla="*/ 5629275 w 5629275"/>
              <a:gd name="connsiteY10" fmla="*/ 6858000 h 6858000"/>
              <a:gd name="connsiteX11" fmla="*/ 0 w 5629275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29275" h="6858000">
                <a:moveTo>
                  <a:pt x="0" y="0"/>
                </a:moveTo>
                <a:lnTo>
                  <a:pt x="5629275" y="0"/>
                </a:lnTo>
                <a:lnTo>
                  <a:pt x="5629275" y="1423986"/>
                </a:lnTo>
                <a:lnTo>
                  <a:pt x="1566860" y="1423986"/>
                </a:lnTo>
                <a:lnTo>
                  <a:pt x="1566860" y="2709861"/>
                </a:lnTo>
                <a:lnTo>
                  <a:pt x="5072061" y="2709861"/>
                </a:lnTo>
                <a:lnTo>
                  <a:pt x="5072061" y="4204704"/>
                </a:lnTo>
                <a:lnTo>
                  <a:pt x="1566860" y="4204704"/>
                </a:lnTo>
                <a:lnTo>
                  <a:pt x="1566860" y="5386387"/>
                </a:lnTo>
                <a:lnTo>
                  <a:pt x="5629275" y="5386387"/>
                </a:lnTo>
                <a:lnTo>
                  <a:pt x="56292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Set the scene.</a:t>
            </a:r>
            <a:br>
              <a:rPr lang="en-US"/>
            </a:br>
            <a:r>
              <a:rPr lang="en-US"/>
              <a:t>Cover the context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E1206B-8429-4EF3-BAFD-1AE585D9C24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44237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126D42-B0E9-499F-A915-8A39956BF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03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126D42-B0E9-499F-A915-8A39956BF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52BC96C-63C5-4844-96EE-D90D933B1D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5334001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Make your case.</a:t>
            </a:r>
            <a:br>
              <a:rPr lang="en-US"/>
            </a:br>
            <a:r>
              <a:rPr lang="en-US"/>
              <a:t>Show the proof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1FB390D-B9A1-4431-8429-E440C2BE686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5726131" y="0"/>
            <a:ext cx="6465869" cy="6856413"/>
          </a:xfrm>
          <a:custGeom>
            <a:avLst/>
            <a:gdLst>
              <a:gd name="connsiteX0" fmla="*/ 3570285 w 6465869"/>
              <a:gd name="connsiteY0" fmla="*/ 2074129 h 6856413"/>
              <a:gd name="connsiteX1" fmla="*/ 2780173 w 6465869"/>
              <a:gd name="connsiteY1" fmla="*/ 3992705 h 6856413"/>
              <a:gd name="connsiteX2" fmla="*/ 4357474 w 6465869"/>
              <a:gd name="connsiteY2" fmla="*/ 3992705 h 6856413"/>
              <a:gd name="connsiteX3" fmla="*/ 2786873 w 6465869"/>
              <a:gd name="connsiteY3" fmla="*/ 0 h 6856413"/>
              <a:gd name="connsiteX4" fmla="*/ 4349150 w 6465869"/>
              <a:gd name="connsiteY4" fmla="*/ 0 h 6856413"/>
              <a:gd name="connsiteX5" fmla="*/ 6465869 w 6465869"/>
              <a:gd name="connsiteY5" fmla="*/ 5210627 h 6856413"/>
              <a:gd name="connsiteX6" fmla="*/ 6465869 w 6465869"/>
              <a:gd name="connsiteY6" fmla="*/ 6856413 h 6856413"/>
              <a:gd name="connsiteX7" fmla="*/ 5487503 w 6465869"/>
              <a:gd name="connsiteY7" fmla="*/ 6856413 h 6856413"/>
              <a:gd name="connsiteX8" fmla="*/ 4896573 w 6465869"/>
              <a:gd name="connsiteY8" fmla="*/ 5390820 h 6856413"/>
              <a:gd name="connsiteX9" fmla="*/ 2199618 w 6465869"/>
              <a:gd name="connsiteY9" fmla="*/ 5390820 h 6856413"/>
              <a:gd name="connsiteX10" fmla="*/ 1612707 w 6465869"/>
              <a:gd name="connsiteY10" fmla="*/ 6856413 h 6856413"/>
              <a:gd name="connsiteX11" fmla="*/ 0 w 6465869"/>
              <a:gd name="connsiteY11" fmla="*/ 6856413 h 685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465869" h="6856413">
                <a:moveTo>
                  <a:pt x="3570285" y="2074129"/>
                </a:moveTo>
                <a:lnTo>
                  <a:pt x="2780173" y="3992705"/>
                </a:lnTo>
                <a:lnTo>
                  <a:pt x="4357474" y="3992705"/>
                </a:lnTo>
                <a:close/>
                <a:moveTo>
                  <a:pt x="2786873" y="0"/>
                </a:moveTo>
                <a:lnTo>
                  <a:pt x="4349150" y="0"/>
                </a:lnTo>
                <a:lnTo>
                  <a:pt x="6465869" y="5210627"/>
                </a:lnTo>
                <a:lnTo>
                  <a:pt x="6465869" y="6856413"/>
                </a:lnTo>
                <a:lnTo>
                  <a:pt x="5487503" y="6856413"/>
                </a:lnTo>
                <a:lnTo>
                  <a:pt x="4896573" y="5390820"/>
                </a:lnTo>
                <a:lnTo>
                  <a:pt x="2199618" y="5390820"/>
                </a:lnTo>
                <a:lnTo>
                  <a:pt x="1612707" y="6856413"/>
                </a:lnTo>
                <a:lnTo>
                  <a:pt x="0" y="685641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BEAD478-665D-496C-B00E-61831230A9E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3724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76B111-B678-4C87-B9DB-258250659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9399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76B111-B678-4C87-B9DB-258250659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933C2C-4ED0-4B82-8997-E93AEB96EC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75495C2-4728-204B-897F-ADE6303F8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The ‘so what?’.</a:t>
            </a:r>
            <a:br>
              <a:rPr lang="en-US"/>
            </a:br>
            <a:r>
              <a:rPr lang="en-US"/>
              <a:t>How to make a change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F682349-BFFC-4F99-8587-BDD310D1943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1"/>
            <a:ext cx="6096000" cy="6856412"/>
          </a:xfrm>
          <a:custGeom>
            <a:avLst/>
            <a:gdLst>
              <a:gd name="connsiteX0" fmla="*/ 1514163 w 6096000"/>
              <a:gd name="connsiteY0" fmla="*/ 1272567 h 6856412"/>
              <a:gd name="connsiteX1" fmla="*/ 1514163 w 6096000"/>
              <a:gd name="connsiteY1" fmla="*/ 2918854 h 6856412"/>
              <a:gd name="connsiteX2" fmla="*/ 3141813 w 6096000"/>
              <a:gd name="connsiteY2" fmla="*/ 2918854 h 6856412"/>
              <a:gd name="connsiteX3" fmla="*/ 4300976 w 6096000"/>
              <a:gd name="connsiteY3" fmla="*/ 2074657 h 6856412"/>
              <a:gd name="connsiteX4" fmla="*/ 3141813 w 6096000"/>
              <a:gd name="connsiteY4" fmla="*/ 1272648 h 6856412"/>
              <a:gd name="connsiteX5" fmla="*/ 0 w 6096000"/>
              <a:gd name="connsiteY5" fmla="*/ 0 h 6856412"/>
              <a:gd name="connsiteX6" fmla="*/ 3371063 w 6096000"/>
              <a:gd name="connsiteY6" fmla="*/ 0 h 6856412"/>
              <a:gd name="connsiteX7" fmla="*/ 5764098 w 6096000"/>
              <a:gd name="connsiteY7" fmla="*/ 1914880 h 6856412"/>
              <a:gd name="connsiteX8" fmla="*/ 4473298 w 6096000"/>
              <a:gd name="connsiteY8" fmla="*/ 3946539 h 6856412"/>
              <a:gd name="connsiteX9" fmla="*/ 4067868 w 6096000"/>
              <a:gd name="connsiteY9" fmla="*/ 4051622 h 6856412"/>
              <a:gd name="connsiteX10" fmla="*/ 6096000 w 6096000"/>
              <a:gd name="connsiteY10" fmla="*/ 6743454 h 6856412"/>
              <a:gd name="connsiteX11" fmla="*/ 6096000 w 6096000"/>
              <a:gd name="connsiteY11" fmla="*/ 6856412 h 6856412"/>
              <a:gd name="connsiteX12" fmla="*/ 4434202 w 6096000"/>
              <a:gd name="connsiteY12" fmla="*/ 6856412 h 6856412"/>
              <a:gd name="connsiteX13" fmla="*/ 2428564 w 6096000"/>
              <a:gd name="connsiteY13" fmla="*/ 4203318 h 6856412"/>
              <a:gd name="connsiteX14" fmla="*/ 1514081 w 6096000"/>
              <a:gd name="connsiteY14" fmla="*/ 4203318 h 6856412"/>
              <a:gd name="connsiteX15" fmla="*/ 1514163 w 6096000"/>
              <a:gd name="connsiteY15" fmla="*/ 6856412 h 6856412"/>
              <a:gd name="connsiteX16" fmla="*/ 0 w 6096000"/>
              <a:gd name="connsiteY16" fmla="*/ 6856412 h 6856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096000" h="6856412">
                <a:moveTo>
                  <a:pt x="1514163" y="1272567"/>
                </a:moveTo>
                <a:lnTo>
                  <a:pt x="1514163" y="2918854"/>
                </a:lnTo>
                <a:lnTo>
                  <a:pt x="3141813" y="2918854"/>
                </a:lnTo>
                <a:cubicBezTo>
                  <a:pt x="4117526" y="2918854"/>
                  <a:pt x="4300976" y="2462344"/>
                  <a:pt x="4300976" y="2074657"/>
                </a:cubicBezTo>
                <a:cubicBezTo>
                  <a:pt x="4300976" y="1664111"/>
                  <a:pt x="4089550" y="1272648"/>
                  <a:pt x="3141813" y="1272648"/>
                </a:cubicBezTo>
                <a:close/>
                <a:moveTo>
                  <a:pt x="0" y="0"/>
                </a:moveTo>
                <a:lnTo>
                  <a:pt x="3371063" y="0"/>
                </a:lnTo>
                <a:cubicBezTo>
                  <a:pt x="5093320" y="0"/>
                  <a:pt x="5764098" y="808058"/>
                  <a:pt x="5764098" y="1914880"/>
                </a:cubicBezTo>
                <a:cubicBezTo>
                  <a:pt x="5764098" y="2958727"/>
                  <a:pt x="5303162" y="3570018"/>
                  <a:pt x="4473298" y="3946539"/>
                </a:cubicBezTo>
                <a:cubicBezTo>
                  <a:pt x="4473298" y="3946539"/>
                  <a:pt x="4340686" y="3999770"/>
                  <a:pt x="4067868" y="4051622"/>
                </a:cubicBezTo>
                <a:lnTo>
                  <a:pt x="6096000" y="6743454"/>
                </a:lnTo>
                <a:lnTo>
                  <a:pt x="6096000" y="6856412"/>
                </a:lnTo>
                <a:lnTo>
                  <a:pt x="4434202" y="6856412"/>
                </a:lnTo>
                <a:lnTo>
                  <a:pt x="2428564" y="4203318"/>
                </a:lnTo>
                <a:lnTo>
                  <a:pt x="1514081" y="4203318"/>
                </a:lnTo>
                <a:lnTo>
                  <a:pt x="1514163" y="6856412"/>
                </a:lnTo>
                <a:lnTo>
                  <a:pt x="0" y="68564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ED46054-2F2F-486D-8E76-7CFB315D34E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8002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C422FD-F8A6-468E-BE3F-631D75B0D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364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C422FD-F8A6-468E-BE3F-631D75B0D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3B76641-2E82-4B63-93DA-5A86BD6B72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01EA128-4E92-46A3-B8EE-474F087E3FF2}"/>
              </a:ext>
            </a:extLst>
          </p:cNvPr>
          <p:cNvSpPr/>
          <p:nvPr userDrawn="1"/>
        </p:nvSpPr>
        <p:spPr bwMode="gray">
          <a:xfrm>
            <a:off x="11064552" y="6536518"/>
            <a:ext cx="828092" cy="252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04D232-213D-1349-BF20-DDEDEB909A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1524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3800"/>
            </a:lvl1pPr>
          </a:lstStyle>
          <a:p>
            <a:r>
              <a:rPr lang="en-US"/>
              <a:t>For further reading.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9CAB22E-EAD9-4ABF-B95C-BC9F35E8C46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 bwMode="gray">
          <a:xfrm>
            <a:off x="6096000" y="2"/>
            <a:ext cx="6096000" cy="6857917"/>
          </a:xfrm>
          <a:custGeom>
            <a:avLst/>
            <a:gdLst>
              <a:gd name="connsiteX0" fmla="*/ 4601190 w 6096000"/>
              <a:gd name="connsiteY0" fmla="*/ 0 h 6857917"/>
              <a:gd name="connsiteX1" fmla="*/ 6096000 w 6096000"/>
              <a:gd name="connsiteY1" fmla="*/ 0 h 6857917"/>
              <a:gd name="connsiteX2" fmla="*/ 6096000 w 6096000"/>
              <a:gd name="connsiteY2" fmla="*/ 6857917 h 6857917"/>
              <a:gd name="connsiteX3" fmla="*/ 4618948 w 6096000"/>
              <a:gd name="connsiteY3" fmla="*/ 6857917 h 6857917"/>
              <a:gd name="connsiteX4" fmla="*/ 1584185 w 6096000"/>
              <a:gd name="connsiteY4" fmla="*/ 2803325 h 6857917"/>
              <a:gd name="connsiteX5" fmla="*/ 1580380 w 6096000"/>
              <a:gd name="connsiteY5" fmla="*/ 6857917 h 6857917"/>
              <a:gd name="connsiteX6" fmla="*/ 4651 w 6096000"/>
              <a:gd name="connsiteY6" fmla="*/ 6857917 h 6857917"/>
              <a:gd name="connsiteX7" fmla="*/ 0 w 6096000"/>
              <a:gd name="connsiteY7" fmla="*/ 2368 h 6857917"/>
              <a:gd name="connsiteX8" fmla="*/ 1551883 w 6096000"/>
              <a:gd name="connsiteY8" fmla="*/ 2368 h 6857917"/>
              <a:gd name="connsiteX9" fmla="*/ 4601190 w 6096000"/>
              <a:gd name="connsiteY9" fmla="*/ 4070490 h 6857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096000" h="6857917">
                <a:moveTo>
                  <a:pt x="4601190" y="0"/>
                </a:moveTo>
                <a:lnTo>
                  <a:pt x="6096000" y="0"/>
                </a:lnTo>
                <a:lnTo>
                  <a:pt x="6096000" y="6857917"/>
                </a:lnTo>
                <a:lnTo>
                  <a:pt x="4618948" y="6857917"/>
                </a:lnTo>
                <a:lnTo>
                  <a:pt x="1584185" y="2803325"/>
                </a:lnTo>
                <a:lnTo>
                  <a:pt x="1580380" y="6857917"/>
                </a:lnTo>
                <a:lnTo>
                  <a:pt x="4651" y="6857917"/>
                </a:lnTo>
                <a:lnTo>
                  <a:pt x="0" y="2368"/>
                </a:lnTo>
                <a:lnTo>
                  <a:pt x="1551883" y="2368"/>
                </a:lnTo>
                <a:lnTo>
                  <a:pt x="4601190" y="407049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1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insert imag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3D351D1-FFB6-4227-9ADC-05525A9B855E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1000" y="2286000"/>
            <a:ext cx="5334000" cy="3810000"/>
          </a:xfrm>
        </p:spPr>
        <p:txBody>
          <a:bodyPr/>
          <a:lstStyle>
            <a:lvl1pPr>
              <a:spcBef>
                <a:spcPts val="900"/>
              </a:spcBef>
              <a:spcAft>
                <a:spcPts val="0"/>
              </a:spcAft>
              <a:defRPr sz="1600"/>
            </a:lvl1pPr>
            <a:lvl2pPr marL="203200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2pPr>
            <a:lvl3pPr marL="410464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3pPr>
            <a:lvl4pPr marL="615696" indent="-203200"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–"/>
              <a:defRPr sz="1600"/>
            </a:lvl4pPr>
            <a:lvl5pPr>
              <a:spcBef>
                <a:spcPts val="9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66495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A7080B1-814D-4356-94DB-71BD7ED1BF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038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A7080B1-814D-4356-94DB-71BD7ED1BF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6BD8039-0BD3-4061-81FD-CF887F58D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38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1E03C1-D400-8046-89BB-D260E3A844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1" y="381000"/>
            <a:ext cx="5334000" cy="267017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en-GB" sz="3800" b="1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en-US" b="1">
                <a:effectLst/>
                <a:latin typeface="Arial" panose="020B0604020202020204" pitchFamily="34" charset="0"/>
              </a:rPr>
              <a:t>Add an optional sub-chapter that supports the narrative</a:t>
            </a:r>
            <a:endParaRPr lang="en-US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241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446ED1-B935-40E1-9636-4DD03C1D7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06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446ED1-B935-40E1-9636-4DD03C1D7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24F1CC-BBCD-4AD6-9A7C-137FEFA779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AE1E5AF-43EF-49CD-A70B-FBA2BCAA3F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81000" y="381000"/>
            <a:ext cx="2286000" cy="2215991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</a:p>
        </p:txBody>
      </p:sp>
    </p:spTree>
    <p:extLst>
      <p:ext uri="{BB962C8B-B14F-4D97-AF65-F5344CB8AC3E}">
        <p14:creationId xmlns:p14="http://schemas.microsoft.com/office/powerpoint/2010/main" val="3818501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1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29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BB6C3-85C0-4D78-A335-487D253A70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90406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3" progId="TCLayout.ActiveDocument.1">
                  <p:embed/>
                </p:oleObj>
              </mc:Choice>
              <mc:Fallback>
                <p:oleObj name="think-cell Slide" r:id="rId21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D1BB6C3-85C0-4D78-A335-487D253A7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A01742A-C2C4-4349-BA00-741293CB36A4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90000"/>
              </a:lnSpc>
            </a:pPr>
            <a:endParaRPr lang="en-US" sz="2000" b="1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0368699-BA99-E84F-AB32-4E762B32A26B}"/>
              </a:ext>
            </a:extLst>
          </p:cNvPr>
          <p:cNvSpPr/>
          <p:nvPr userDrawn="1"/>
        </p:nvSpPr>
        <p:spPr bwMode="gray">
          <a:xfrm>
            <a:off x="0" y="0"/>
            <a:ext cx="3048000" cy="6859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4B5871-DB92-6F46-AA38-789E9F5528B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81000" y="381000"/>
            <a:ext cx="2286000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Key message. </a:t>
            </a:r>
            <a:br>
              <a:rPr lang="en-US"/>
            </a:br>
            <a:r>
              <a:rPr lang="en-US"/>
              <a:t>If the audience reads just this, it will be enough. Make every word count. Say it like you would in the room.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6AB4B1-7789-CE46-95B2-2777D779360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429000" y="381000"/>
            <a:ext cx="8378824" cy="5715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noProof="0"/>
              <a:t>This is where you make your case with relevant evidence and information. Keep sentences concise. Avoid jargon and repetition.</a:t>
            </a:r>
          </a:p>
          <a:p>
            <a:pPr lvl="1"/>
            <a:r>
              <a:rPr lang="en-US" noProof="0"/>
              <a:t>Bullet 1: Second level</a:t>
            </a:r>
          </a:p>
          <a:p>
            <a:pPr lvl="2"/>
            <a:r>
              <a:rPr lang="en-US" noProof="0"/>
              <a:t>Bullet 2: Third level</a:t>
            </a:r>
          </a:p>
          <a:p>
            <a:pPr lvl="3"/>
            <a:r>
              <a:rPr lang="en-US" noProof="0"/>
              <a:t>Bullet 3: Fourth level</a:t>
            </a:r>
          </a:p>
          <a:p>
            <a:pPr lvl="4"/>
            <a:r>
              <a:rPr lang="en-US" noProof="0"/>
              <a:t>Bullet 4: Fifth leve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B123F1-21A1-48A2-A775-C2EFC581200F}"/>
              </a:ext>
            </a:extLst>
          </p:cNvPr>
          <p:cNvSpPr txBox="1"/>
          <p:nvPr userDrawn="1"/>
        </p:nvSpPr>
        <p:spPr bwMode="gray">
          <a:xfrm>
            <a:off x="11209338" y="6572250"/>
            <a:ext cx="598486" cy="15240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earney XX/I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BD2AA55-AD71-458E-AB53-14B489582B00}"/>
              </a:ext>
            </a:extLst>
          </p:cNvPr>
          <p:cNvSpPr txBox="1"/>
          <p:nvPr userDrawn="1"/>
        </p:nvSpPr>
        <p:spPr bwMode="gray">
          <a:xfrm>
            <a:off x="371475" y="6226175"/>
            <a:ext cx="377825" cy="2762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lumMod val="100000"/>
                  </a:srgbClr>
                </a:solidFill>
              </a14:hiddenFill>
            </a:ext>
          </a:extLst>
        </p:spPr>
        <p:txBody>
          <a:bodyPr wrap="none" lIns="0" tIns="0" rIns="0" bIns="0" rtlCol="0" anchor="b" anchorCtr="0">
            <a:noAutofit/>
          </a:bodyPr>
          <a:lstStyle/>
          <a:p>
            <a:pPr algn="l">
              <a:lnSpc>
                <a:spcPct val="90000"/>
              </a:lnSpc>
            </a:pPr>
            <a:fld id="{6CE8C368-3382-4C28-AE75-DF7C05ACA19D}" type="slidenum">
              <a:rPr lang="en-US" sz="1000" b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algn="l">
                <a:lnSpc>
                  <a:spcPct val="90000"/>
                </a:lnSpc>
              </a:pPr>
              <a:t>‹#›</a:t>
            </a:fld>
            <a:endParaRPr lang="en-US" sz="1000" b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6E275BC7-1864-4368-837C-F720968391F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62000" y="6384543"/>
            <a:ext cx="765175" cy="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70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5" r:id="rId12"/>
    <p:sldLayoutId id="2147483682" r:id="rId13"/>
    <p:sldLayoutId id="2147483677" r:id="rId14"/>
    <p:sldLayoutId id="2147483683" r:id="rId15"/>
    <p:sldLayoutId id="2147483681" r:id="rId16"/>
    <p:sldLayoutId id="2147483680" r:id="rId17"/>
  </p:sldLayoutIdLst>
  <p:hf hdr="0" ftr="0" dt="0"/>
  <p:txStyles>
    <p:titleStyle>
      <a:lvl1pPr marL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US" sz="1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56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34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0000"/>
        </a:buClr>
        <a:buSzPct val="100000"/>
        <a:buFont typeface="Arial" panose="020B0604020202020204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System Font Regular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 userDrawn="1">
          <p15:clr>
            <a:srgbClr val="B4B4B4"/>
          </p15:clr>
        </p15:guide>
        <p15:guide id="2" orient="horz" pos="480" userDrawn="1">
          <p15:clr>
            <a:srgbClr val="B4B4B4"/>
          </p15:clr>
        </p15:guide>
        <p15:guide id="3" orient="horz" pos="720" userDrawn="1">
          <p15:clr>
            <a:srgbClr val="B4B4B4"/>
          </p15:clr>
        </p15:guide>
        <p15:guide id="4" orient="horz" pos="960" userDrawn="1">
          <p15:clr>
            <a:srgbClr val="B4B4B4"/>
          </p15:clr>
        </p15:guide>
        <p15:guide id="5" orient="horz" pos="1200" userDrawn="1">
          <p15:clr>
            <a:srgbClr val="B4B4B4"/>
          </p15:clr>
        </p15:guide>
        <p15:guide id="6" orient="horz" pos="1440" userDrawn="1">
          <p15:clr>
            <a:srgbClr val="B4B4B4"/>
          </p15:clr>
        </p15:guide>
        <p15:guide id="7" orient="horz" pos="1680" userDrawn="1">
          <p15:clr>
            <a:srgbClr val="B4B4B4"/>
          </p15:clr>
        </p15:guide>
        <p15:guide id="8" orient="horz" pos="1920" userDrawn="1">
          <p15:clr>
            <a:srgbClr val="B4B4B4"/>
          </p15:clr>
        </p15:guide>
        <p15:guide id="9" orient="horz" pos="2160" userDrawn="1">
          <p15:clr>
            <a:srgbClr val="B4B4B4"/>
          </p15:clr>
        </p15:guide>
        <p15:guide id="10" orient="horz" pos="2400" userDrawn="1">
          <p15:clr>
            <a:srgbClr val="B4B4B4"/>
          </p15:clr>
        </p15:guide>
        <p15:guide id="11" orient="horz" pos="2640" userDrawn="1">
          <p15:clr>
            <a:srgbClr val="B4B4B4"/>
          </p15:clr>
        </p15:guide>
        <p15:guide id="12" orient="horz" pos="2880" userDrawn="1">
          <p15:clr>
            <a:srgbClr val="B4B4B4"/>
          </p15:clr>
        </p15:guide>
        <p15:guide id="13" orient="horz" pos="3120" userDrawn="1">
          <p15:clr>
            <a:srgbClr val="B4B4B4"/>
          </p15:clr>
        </p15:guide>
        <p15:guide id="14" orient="horz" pos="3360" userDrawn="1">
          <p15:clr>
            <a:srgbClr val="B4B4B4"/>
          </p15:clr>
        </p15:guide>
        <p15:guide id="15" orient="horz" pos="3600" userDrawn="1">
          <p15:clr>
            <a:srgbClr val="B4B4B4"/>
          </p15:clr>
        </p15:guide>
        <p15:guide id="16" orient="horz" pos="3840" userDrawn="1">
          <p15:clr>
            <a:srgbClr val="B4B4B4"/>
          </p15:clr>
        </p15:guide>
        <p15:guide id="17" orient="horz" pos="4080" userDrawn="1">
          <p15:clr>
            <a:srgbClr val="B4B4B4"/>
          </p15:clr>
        </p15:guide>
        <p15:guide id="18" orient="horz" pos="4320" userDrawn="1">
          <p15:clr>
            <a:srgbClr val="B4B4B4"/>
          </p15:clr>
        </p15:guide>
        <p15:guide id="19" pos="240" userDrawn="1">
          <p15:clr>
            <a:srgbClr val="B4B4B4"/>
          </p15:clr>
        </p15:guide>
        <p15:guide id="20" pos="480" userDrawn="1">
          <p15:clr>
            <a:srgbClr val="B4B4B4"/>
          </p15:clr>
        </p15:guide>
        <p15:guide id="21" pos="720" userDrawn="1">
          <p15:clr>
            <a:srgbClr val="B4B4B4"/>
          </p15:clr>
        </p15:guide>
        <p15:guide id="22" pos="960" userDrawn="1">
          <p15:clr>
            <a:srgbClr val="B4B4B4"/>
          </p15:clr>
        </p15:guide>
        <p15:guide id="23" pos="1200" userDrawn="1">
          <p15:clr>
            <a:srgbClr val="B4B4B4"/>
          </p15:clr>
        </p15:guide>
        <p15:guide id="24" pos="1440" userDrawn="1">
          <p15:clr>
            <a:srgbClr val="B4B4B4"/>
          </p15:clr>
        </p15:guide>
        <p15:guide id="25" pos="1680" userDrawn="1">
          <p15:clr>
            <a:srgbClr val="B4B4B4"/>
          </p15:clr>
        </p15:guide>
        <p15:guide id="26" pos="1920" userDrawn="1">
          <p15:clr>
            <a:srgbClr val="B4B4B4"/>
          </p15:clr>
        </p15:guide>
        <p15:guide id="27" pos="2160" userDrawn="1">
          <p15:clr>
            <a:srgbClr val="B4B4B4"/>
          </p15:clr>
        </p15:guide>
        <p15:guide id="28" pos="2400" userDrawn="1">
          <p15:clr>
            <a:srgbClr val="B4B4B4"/>
          </p15:clr>
        </p15:guide>
        <p15:guide id="29" pos="2640" userDrawn="1">
          <p15:clr>
            <a:srgbClr val="B4B4B4"/>
          </p15:clr>
        </p15:guide>
        <p15:guide id="30" pos="2880" userDrawn="1">
          <p15:clr>
            <a:srgbClr val="B4B4B4"/>
          </p15:clr>
        </p15:guide>
        <p15:guide id="31" pos="3120" userDrawn="1">
          <p15:clr>
            <a:srgbClr val="B4B4B4"/>
          </p15:clr>
        </p15:guide>
        <p15:guide id="32" pos="3360" userDrawn="1">
          <p15:clr>
            <a:srgbClr val="B4B4B4"/>
          </p15:clr>
        </p15:guide>
        <p15:guide id="33" pos="3600" userDrawn="1">
          <p15:clr>
            <a:srgbClr val="B4B4B4"/>
          </p15:clr>
        </p15:guide>
        <p15:guide id="34" pos="3840" userDrawn="1">
          <p15:clr>
            <a:srgbClr val="B4B4B4"/>
          </p15:clr>
        </p15:guide>
        <p15:guide id="35" pos="4080" userDrawn="1">
          <p15:clr>
            <a:srgbClr val="B4B4B4"/>
          </p15:clr>
        </p15:guide>
        <p15:guide id="36" pos="4320" userDrawn="1">
          <p15:clr>
            <a:srgbClr val="B4B4B4"/>
          </p15:clr>
        </p15:guide>
        <p15:guide id="37" pos="4560" userDrawn="1">
          <p15:clr>
            <a:srgbClr val="B4B4B4"/>
          </p15:clr>
        </p15:guide>
        <p15:guide id="38" pos="4800" userDrawn="1">
          <p15:clr>
            <a:srgbClr val="B4B4B4"/>
          </p15:clr>
        </p15:guide>
        <p15:guide id="39" pos="5040" userDrawn="1">
          <p15:clr>
            <a:srgbClr val="B4B4B4"/>
          </p15:clr>
        </p15:guide>
        <p15:guide id="40" pos="5280" userDrawn="1">
          <p15:clr>
            <a:srgbClr val="B4B4B4"/>
          </p15:clr>
        </p15:guide>
        <p15:guide id="41" pos="5520" userDrawn="1">
          <p15:clr>
            <a:srgbClr val="B4B4B4"/>
          </p15:clr>
        </p15:guide>
        <p15:guide id="42" pos="5760" userDrawn="1">
          <p15:clr>
            <a:srgbClr val="B4B4B4"/>
          </p15:clr>
        </p15:guide>
        <p15:guide id="43" pos="6000" userDrawn="1">
          <p15:clr>
            <a:srgbClr val="B4B4B4"/>
          </p15:clr>
        </p15:guide>
        <p15:guide id="44" pos="6240" userDrawn="1">
          <p15:clr>
            <a:srgbClr val="B4B4B4"/>
          </p15:clr>
        </p15:guide>
        <p15:guide id="45" pos="6480" userDrawn="1">
          <p15:clr>
            <a:srgbClr val="B4B4B4"/>
          </p15:clr>
        </p15:guide>
        <p15:guide id="46" pos="6720" userDrawn="1">
          <p15:clr>
            <a:srgbClr val="B4B4B4"/>
          </p15:clr>
        </p15:guide>
        <p15:guide id="47" pos="6960" userDrawn="1">
          <p15:clr>
            <a:srgbClr val="B4B4B4"/>
          </p15:clr>
        </p15:guide>
        <p15:guide id="48" pos="7200" userDrawn="1">
          <p15:clr>
            <a:srgbClr val="B4B4B4"/>
          </p15:clr>
        </p15:guide>
        <p15:guide id="49" pos="7440" userDrawn="1">
          <p15:clr>
            <a:srgbClr val="B4B4B4"/>
          </p15:clr>
        </p15:guide>
        <p15:guide id="50" pos="7680" userDrawn="1">
          <p15:clr>
            <a:srgbClr val="B4B4B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44" imgH="443" progId="TCLayout.ActiveDocument.1">
                  <p:embed/>
                </p:oleObj>
              </mc:Choice>
              <mc:Fallback>
                <p:oleObj name="think-cell Slide" r:id="rId12" imgW="444" imgH="44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B1F1018-6258-4F01-B3FE-B5BC7EE1B9B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2894" y="111301"/>
            <a:ext cx="10967687" cy="7861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Master Title Slide Headline</a:t>
            </a:r>
            <a:endParaRPr lang="en-CA"/>
          </a:p>
        </p:txBody>
      </p:sp>
      <p:cxnSp>
        <p:nvCxnSpPr>
          <p:cNvPr id="19" name="Straight Connector 18"/>
          <p:cNvCxnSpPr/>
          <p:nvPr/>
        </p:nvCxnSpPr>
        <p:spPr>
          <a:xfrm>
            <a:off x="618422" y="919163"/>
            <a:ext cx="1158134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idx="1"/>
          </p:nvPr>
        </p:nvSpPr>
        <p:spPr>
          <a:xfrm>
            <a:off x="622893" y="1082676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10554349" y="6431966"/>
            <a:ext cx="10413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900" i="0" smtClean="0">
                <a:solidFill>
                  <a:schemeClr val="bg1">
                    <a:lumMod val="50000"/>
                  </a:schemeClr>
                </a:solidFill>
              </a:rPr>
              <a:pPr algn="r"/>
              <a:t>‹#›</a:t>
            </a:fld>
            <a:endParaRPr lang="en-GB" sz="1100" i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AcnSubjectTitle_ID_4" hidden="1">
            <a:extLst>
              <a:ext uri="{FF2B5EF4-FFF2-40B4-BE49-F238E27FC236}">
                <a16:creationId xmlns:a16="http://schemas.microsoft.com/office/drawing/2014/main" id="{F8E0347D-9437-4CF3-A8A4-8B7B11AD17DB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gray">
          <a:xfrm>
            <a:off x="622894" y="1420813"/>
            <a:ext cx="6985000" cy="33855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buFontTx/>
              <a:buNone/>
            </a:pPr>
            <a:r>
              <a:rPr lang="en-US" sz="1600" b="1" i="0">
                <a:solidFill>
                  <a:schemeClr val="tx1"/>
                </a:solidFill>
              </a:rPr>
              <a:t>Subject Title</a:t>
            </a:r>
          </a:p>
        </p:txBody>
      </p:sp>
      <p:sp>
        <p:nvSpPr>
          <p:cNvPr id="5" name="AcnFootnote_ID_5" hidden="1">
            <a:extLst>
              <a:ext uri="{FF2B5EF4-FFF2-40B4-BE49-F238E27FC236}">
                <a16:creationId xmlns:a16="http://schemas.microsoft.com/office/drawing/2014/main" id="{4B68DD06-91B8-42B4-8CBE-EAFE1E975FC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gray">
          <a:xfrm>
            <a:off x="622894" y="6254750"/>
            <a:ext cx="10967687" cy="430887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38163" indent="-538163" algn="l">
              <a:buFontTx/>
              <a:buNone/>
            </a:pPr>
            <a:r>
              <a:rPr lang="en-US" sz="1000" b="0" i="0">
                <a:solidFill>
                  <a:schemeClr val="tx1"/>
                </a:solidFill>
              </a:rPr>
              <a:t>*	Footnote</a:t>
            </a:r>
          </a:p>
          <a:p>
            <a:pPr marL="538163" indent="-538163" algn="l">
              <a:spcBef>
                <a:spcPct val="20000"/>
              </a:spcBef>
              <a:buFontTx/>
              <a:buNone/>
            </a:pPr>
            <a:r>
              <a:rPr lang="en-US" sz="1000" b="0" i="0">
                <a:solidFill>
                  <a:schemeClr val="tx1"/>
                </a:solidFill>
              </a:rPr>
              <a:t>Source:	Source</a:t>
            </a:r>
          </a:p>
        </p:txBody>
      </p:sp>
      <p:sp>
        <p:nvSpPr>
          <p:cNvPr id="11" name="Google Shape;26;p4">
            <a:extLst>
              <a:ext uri="{FF2B5EF4-FFF2-40B4-BE49-F238E27FC236}">
                <a16:creationId xmlns:a16="http://schemas.microsoft.com/office/drawing/2014/main" id="{DDC40277-5E16-4D7B-BACA-40705652BE8E}"/>
              </a:ext>
            </a:extLst>
          </p:cNvPr>
          <p:cNvSpPr/>
          <p:nvPr userDrawn="1"/>
        </p:nvSpPr>
        <p:spPr>
          <a:xfrm>
            <a:off x="-76" y="6760216"/>
            <a:ext cx="12192075" cy="97784"/>
          </a:xfrm>
          <a:prstGeom prst="rect">
            <a:avLst/>
          </a:prstGeom>
          <a:solidFill>
            <a:srgbClr val="6AA84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23185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9" r:id="rId4"/>
    <p:sldLayoutId id="2147483690" r:id="rId5"/>
    <p:sldLayoutId id="2147483691" r:id="rId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CA" sz="2000" b="1" kern="1200" dirty="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SzPct val="80000"/>
        <a:buFont typeface="Arial" panose="020B0604020202020204" pitchFamily="34" charset="0"/>
        <a:buChar char="•"/>
        <a:defRPr lang="en-US" sz="1600" b="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SzPct val="80000"/>
        <a:buFont typeface="Arial" pitchFamily="34" charset="0"/>
        <a:buChar char="–"/>
        <a:defRPr lang="en-US" sz="1600" kern="1200" dirty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SzPct val="80000"/>
        <a:buFont typeface="Arial" pitchFamily="34" charset="0"/>
        <a:buChar char="•"/>
        <a:defRPr lang="en-US" sz="1600" kern="1200" baseline="0" dirty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SzPct val="80000"/>
        <a:buFont typeface="Arial" pitchFamily="34" charset="0"/>
        <a:buChar char="–"/>
        <a:defRPr lang="en-US" sz="1600" kern="1200" baseline="0" dirty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SzPct val="80000"/>
        <a:buFont typeface="Arial" pitchFamily="34" charset="0"/>
        <a:buChar char="•"/>
        <a:defRPr lang="en-GB" sz="1600" kern="1200" baseline="0" dirty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7.jpe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5.xml"/><Relationship Id="rId6" Type="http://schemas.openxmlformats.org/officeDocument/2006/relationships/slide" Target="slide36.xml"/><Relationship Id="rId5" Type="http://schemas.openxmlformats.org/officeDocument/2006/relationships/image" Target="../media/image3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6.xml"/><Relationship Id="rId6" Type="http://schemas.openxmlformats.org/officeDocument/2006/relationships/slide" Target="slide3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7.xml"/><Relationship Id="rId6" Type="http://schemas.openxmlformats.org/officeDocument/2006/relationships/slide" Target="slide4.xml"/><Relationship Id="rId5" Type="http://schemas.openxmlformats.org/officeDocument/2006/relationships/image" Target="../media/image41.png"/><Relationship Id="rId4" Type="http://schemas.openxmlformats.org/officeDocument/2006/relationships/image" Target="../media/image3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8.xml"/><Relationship Id="rId6" Type="http://schemas.openxmlformats.org/officeDocument/2006/relationships/slide" Target="slide5.xml"/><Relationship Id="rId5" Type="http://schemas.openxmlformats.org/officeDocument/2006/relationships/image" Target="../media/image42.png"/><Relationship Id="rId4" Type="http://schemas.openxmlformats.org/officeDocument/2006/relationships/image" Target="../media/image3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9.xml"/><Relationship Id="rId6" Type="http://schemas.openxmlformats.org/officeDocument/2006/relationships/slide" Target="slide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0.xml"/><Relationship Id="rId6" Type="http://schemas.openxmlformats.org/officeDocument/2006/relationships/slide" Target="slide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6" Type="http://schemas.openxmlformats.org/officeDocument/2006/relationships/slide" Target="slide5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2.xml"/><Relationship Id="rId6" Type="http://schemas.openxmlformats.org/officeDocument/2006/relationships/slide" Target="slide5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0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3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5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6.xml"/><Relationship Id="rId6" Type="http://schemas.openxmlformats.org/officeDocument/2006/relationships/slide" Target="slide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7.xml"/><Relationship Id="rId6" Type="http://schemas.openxmlformats.org/officeDocument/2006/relationships/slide" Target="slide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8.xml"/><Relationship Id="rId6" Type="http://schemas.openxmlformats.org/officeDocument/2006/relationships/slide" Target="slide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36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69.xml"/><Relationship Id="rId6" Type="http://schemas.openxmlformats.org/officeDocument/2006/relationships/slide" Target="slide8.xml"/><Relationship Id="rId5" Type="http://schemas.openxmlformats.org/officeDocument/2006/relationships/image" Target="../media/image43.png"/><Relationship Id="rId4" Type="http://schemas.openxmlformats.org/officeDocument/2006/relationships/image" Target="../media/image3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0.xml"/><Relationship Id="rId6" Type="http://schemas.openxmlformats.org/officeDocument/2006/relationships/slide" Target="slide8.xml"/><Relationship Id="rId5" Type="http://schemas.openxmlformats.org/officeDocument/2006/relationships/image" Target="../media/image44.png"/><Relationship Id="rId4" Type="http://schemas.openxmlformats.org/officeDocument/2006/relationships/image" Target="../media/image3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1.xml"/><Relationship Id="rId6" Type="http://schemas.openxmlformats.org/officeDocument/2006/relationships/slide" Target="slide8.xml"/><Relationship Id="rId5" Type="http://schemas.openxmlformats.org/officeDocument/2006/relationships/image" Target="../media/image45.png"/><Relationship Id="rId4" Type="http://schemas.openxmlformats.org/officeDocument/2006/relationships/image" Target="../media/image3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2.xml"/><Relationship Id="rId6" Type="http://schemas.openxmlformats.org/officeDocument/2006/relationships/slide" Target="slide8.xml"/><Relationship Id="rId5" Type="http://schemas.openxmlformats.org/officeDocument/2006/relationships/image" Target="../media/image46.png"/><Relationship Id="rId4" Type="http://schemas.openxmlformats.org/officeDocument/2006/relationships/image" Target="../media/image3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3.xml"/><Relationship Id="rId6" Type="http://schemas.openxmlformats.org/officeDocument/2006/relationships/slide" Target="slide8.xml"/><Relationship Id="rId5" Type="http://schemas.openxmlformats.org/officeDocument/2006/relationships/image" Target="../media/image47.png"/><Relationship Id="rId4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.xml"/><Relationship Id="rId4" Type="http://schemas.openxmlformats.org/officeDocument/2006/relationships/image" Target="../media/image3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4.xml"/><Relationship Id="rId6" Type="http://schemas.openxmlformats.org/officeDocument/2006/relationships/slide" Target="slide8.xml"/><Relationship Id="rId5" Type="http://schemas.openxmlformats.org/officeDocument/2006/relationships/image" Target="../media/image48.png"/><Relationship Id="rId4" Type="http://schemas.openxmlformats.org/officeDocument/2006/relationships/image" Target="../media/image3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5.xml"/><Relationship Id="rId6" Type="http://schemas.openxmlformats.org/officeDocument/2006/relationships/slide" Target="slide8.xml"/><Relationship Id="rId5" Type="http://schemas.openxmlformats.org/officeDocument/2006/relationships/image" Target="../media/image49.png"/><Relationship Id="rId4" Type="http://schemas.openxmlformats.org/officeDocument/2006/relationships/image" Target="../media/image3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6.xml"/><Relationship Id="rId6" Type="http://schemas.openxmlformats.org/officeDocument/2006/relationships/slide" Target="slide8.xml"/><Relationship Id="rId5" Type="http://schemas.openxmlformats.org/officeDocument/2006/relationships/image" Target="../media/image50.png"/><Relationship Id="rId4" Type="http://schemas.openxmlformats.org/officeDocument/2006/relationships/image" Target="../media/image3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7.xml"/><Relationship Id="rId6" Type="http://schemas.openxmlformats.org/officeDocument/2006/relationships/image" Target="../media/image51.png"/><Relationship Id="rId5" Type="http://schemas.openxmlformats.org/officeDocument/2006/relationships/slide" Target="slide8.xml"/><Relationship Id="rId4" Type="http://schemas.openxmlformats.org/officeDocument/2006/relationships/image" Target="../media/image3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8.xml"/><Relationship Id="rId6" Type="http://schemas.openxmlformats.org/officeDocument/2006/relationships/slide" Target="slide8.xml"/><Relationship Id="rId5" Type="http://schemas.openxmlformats.org/officeDocument/2006/relationships/image" Target="../media/image52.png"/><Relationship Id="rId4" Type="http://schemas.openxmlformats.org/officeDocument/2006/relationships/image" Target="../media/image3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9.xml"/><Relationship Id="rId6" Type="http://schemas.openxmlformats.org/officeDocument/2006/relationships/slide" Target="slide8.xml"/><Relationship Id="rId5" Type="http://schemas.openxmlformats.org/officeDocument/2006/relationships/image" Target="../media/image53.png"/><Relationship Id="rId4" Type="http://schemas.openxmlformats.org/officeDocument/2006/relationships/image" Target="../media/image3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0.xml"/><Relationship Id="rId6" Type="http://schemas.openxmlformats.org/officeDocument/2006/relationships/slide" Target="slide10.xml"/><Relationship Id="rId5" Type="http://schemas.openxmlformats.org/officeDocument/2006/relationships/image" Target="../media/image54.png"/><Relationship Id="rId4" Type="http://schemas.openxmlformats.org/officeDocument/2006/relationships/image" Target="../media/image3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1.xml"/><Relationship Id="rId6" Type="http://schemas.openxmlformats.org/officeDocument/2006/relationships/slide" Target="slide10.xml"/><Relationship Id="rId5" Type="http://schemas.openxmlformats.org/officeDocument/2006/relationships/image" Target="../media/image55.png"/><Relationship Id="rId4" Type="http://schemas.openxmlformats.org/officeDocument/2006/relationships/image" Target="../media/image3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82.xml"/><Relationship Id="rId6" Type="http://schemas.openxmlformats.org/officeDocument/2006/relationships/slide" Target="slide11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31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34.xml"/><Relationship Id="rId16" Type="http://schemas.openxmlformats.org/officeDocument/2006/relationships/slide" Target="slide15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37.xml"/><Relationship Id="rId15" Type="http://schemas.openxmlformats.org/officeDocument/2006/relationships/slide" Target="slide13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image" Target="../media/image31.emf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43.xml"/><Relationship Id="rId16" Type="http://schemas.openxmlformats.org/officeDocument/2006/relationships/slide" Target="slide17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6.xml"/><Relationship Id="rId15" Type="http://schemas.openxmlformats.org/officeDocument/2006/relationships/slide" Target="slide14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52.xml"/><Relationship Id="rId4" Type="http://schemas.openxmlformats.org/officeDocument/2006/relationships/image" Target="../media/image3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22.xml"/><Relationship Id="rId3" Type="http://schemas.openxmlformats.org/officeDocument/2006/relationships/notesSlide" Target="../notesSlides/notesSlide4.xml"/><Relationship Id="rId7" Type="http://schemas.openxmlformats.org/officeDocument/2006/relationships/slide" Target="slide24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3.xml"/><Relationship Id="rId6" Type="http://schemas.openxmlformats.org/officeDocument/2006/relationships/image" Target="../media/image36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1.bin"/><Relationship Id="rId9" Type="http://schemas.openxmlformats.org/officeDocument/2006/relationships/slide" Target="slide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5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rapezoid 2">
            <a:extLst>
              <a:ext uri="{FF2B5EF4-FFF2-40B4-BE49-F238E27FC236}">
                <a16:creationId xmlns:a16="http://schemas.microsoft.com/office/drawing/2014/main" id="{92D00F43-CBD0-4D01-9ABC-30024B1F3FF2}"/>
              </a:ext>
            </a:extLst>
          </p:cNvPr>
          <p:cNvSpPr/>
          <p:nvPr/>
        </p:nvSpPr>
        <p:spPr>
          <a:xfrm flipH="1">
            <a:off x="5943008" y="-2853"/>
            <a:ext cx="5908744" cy="6850534"/>
          </a:xfrm>
          <a:custGeom>
            <a:avLst/>
            <a:gdLst>
              <a:gd name="connsiteX0" fmla="*/ 0 w 5908744"/>
              <a:gd name="connsiteY0" fmla="*/ 6847681 h 6847681"/>
              <a:gd name="connsiteX1" fmla="*/ 2445393 w 5908744"/>
              <a:gd name="connsiteY1" fmla="*/ 0 h 6847681"/>
              <a:gd name="connsiteX2" fmla="*/ 3463351 w 5908744"/>
              <a:gd name="connsiteY2" fmla="*/ 0 h 6847681"/>
              <a:gd name="connsiteX3" fmla="*/ 5908744 w 5908744"/>
              <a:gd name="connsiteY3" fmla="*/ 6847681 h 6847681"/>
              <a:gd name="connsiteX4" fmla="*/ 0 w 5908744"/>
              <a:gd name="connsiteY4" fmla="*/ 6847681 h 6847681"/>
              <a:gd name="connsiteX0" fmla="*/ 0 w 5908744"/>
              <a:gd name="connsiteY0" fmla="*/ 6847681 h 6847681"/>
              <a:gd name="connsiteX1" fmla="*/ 6993 w 5908744"/>
              <a:gd name="connsiteY1" fmla="*/ 17929 h 6847681"/>
              <a:gd name="connsiteX2" fmla="*/ 3463351 w 5908744"/>
              <a:gd name="connsiteY2" fmla="*/ 0 h 6847681"/>
              <a:gd name="connsiteX3" fmla="*/ 5908744 w 5908744"/>
              <a:gd name="connsiteY3" fmla="*/ 6847681 h 6847681"/>
              <a:gd name="connsiteX4" fmla="*/ 0 w 5908744"/>
              <a:gd name="connsiteY4" fmla="*/ 6847681 h 6847681"/>
              <a:gd name="connsiteX0" fmla="*/ 0 w 5908744"/>
              <a:gd name="connsiteY0" fmla="*/ 6850534 h 6850534"/>
              <a:gd name="connsiteX1" fmla="*/ 1797 w 5908744"/>
              <a:gd name="connsiteY1" fmla="*/ 0 h 6850534"/>
              <a:gd name="connsiteX2" fmla="*/ 3463351 w 5908744"/>
              <a:gd name="connsiteY2" fmla="*/ 2853 h 6850534"/>
              <a:gd name="connsiteX3" fmla="*/ 5908744 w 5908744"/>
              <a:gd name="connsiteY3" fmla="*/ 6850534 h 6850534"/>
              <a:gd name="connsiteX4" fmla="*/ 0 w 5908744"/>
              <a:gd name="connsiteY4" fmla="*/ 6850534 h 6850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08744" h="6850534">
                <a:moveTo>
                  <a:pt x="0" y="6850534"/>
                </a:moveTo>
                <a:lnTo>
                  <a:pt x="1797" y="0"/>
                </a:lnTo>
                <a:lnTo>
                  <a:pt x="3463351" y="2853"/>
                </a:lnTo>
                <a:lnTo>
                  <a:pt x="5908744" y="6850534"/>
                </a:lnTo>
                <a:lnTo>
                  <a:pt x="0" y="685053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rapezoid 2">
            <a:extLst>
              <a:ext uri="{FF2B5EF4-FFF2-40B4-BE49-F238E27FC236}">
                <a16:creationId xmlns:a16="http://schemas.microsoft.com/office/drawing/2014/main" id="{E83006B5-B895-487B-93D2-226165D02AEF}"/>
              </a:ext>
            </a:extLst>
          </p:cNvPr>
          <p:cNvSpPr/>
          <p:nvPr/>
        </p:nvSpPr>
        <p:spPr>
          <a:xfrm flipH="1">
            <a:off x="6275294" y="-8049"/>
            <a:ext cx="5914740" cy="6855729"/>
          </a:xfrm>
          <a:custGeom>
            <a:avLst/>
            <a:gdLst>
              <a:gd name="connsiteX0" fmla="*/ 0 w 5908744"/>
              <a:gd name="connsiteY0" fmla="*/ 6847681 h 6847681"/>
              <a:gd name="connsiteX1" fmla="*/ 2445393 w 5908744"/>
              <a:gd name="connsiteY1" fmla="*/ 0 h 6847681"/>
              <a:gd name="connsiteX2" fmla="*/ 3463351 w 5908744"/>
              <a:gd name="connsiteY2" fmla="*/ 0 h 6847681"/>
              <a:gd name="connsiteX3" fmla="*/ 5908744 w 5908744"/>
              <a:gd name="connsiteY3" fmla="*/ 6847681 h 6847681"/>
              <a:gd name="connsiteX4" fmla="*/ 0 w 5908744"/>
              <a:gd name="connsiteY4" fmla="*/ 6847681 h 6847681"/>
              <a:gd name="connsiteX0" fmla="*/ 0 w 5908744"/>
              <a:gd name="connsiteY0" fmla="*/ 6847681 h 6847681"/>
              <a:gd name="connsiteX1" fmla="*/ 6993 w 5908744"/>
              <a:gd name="connsiteY1" fmla="*/ 17929 h 6847681"/>
              <a:gd name="connsiteX2" fmla="*/ 3463351 w 5908744"/>
              <a:gd name="connsiteY2" fmla="*/ 0 h 6847681"/>
              <a:gd name="connsiteX3" fmla="*/ 5908744 w 5908744"/>
              <a:gd name="connsiteY3" fmla="*/ 6847681 h 6847681"/>
              <a:gd name="connsiteX4" fmla="*/ 0 w 5908744"/>
              <a:gd name="connsiteY4" fmla="*/ 6847681 h 6847681"/>
              <a:gd name="connsiteX0" fmla="*/ 800 w 5909544"/>
              <a:gd name="connsiteY0" fmla="*/ 6850534 h 6850534"/>
              <a:gd name="connsiteX1" fmla="*/ 0 w 5909544"/>
              <a:gd name="connsiteY1" fmla="*/ 0 h 6850534"/>
              <a:gd name="connsiteX2" fmla="*/ 3464151 w 5909544"/>
              <a:gd name="connsiteY2" fmla="*/ 2853 h 6850534"/>
              <a:gd name="connsiteX3" fmla="*/ 5909544 w 5909544"/>
              <a:gd name="connsiteY3" fmla="*/ 6850534 h 6850534"/>
              <a:gd name="connsiteX4" fmla="*/ 800 w 5909544"/>
              <a:gd name="connsiteY4" fmla="*/ 6850534 h 6850534"/>
              <a:gd name="connsiteX0" fmla="*/ 5996 w 5914740"/>
              <a:gd name="connsiteY0" fmla="*/ 6855729 h 6855729"/>
              <a:gd name="connsiteX1" fmla="*/ 0 w 5914740"/>
              <a:gd name="connsiteY1" fmla="*/ 0 h 6855729"/>
              <a:gd name="connsiteX2" fmla="*/ 3469347 w 5914740"/>
              <a:gd name="connsiteY2" fmla="*/ 8048 h 6855729"/>
              <a:gd name="connsiteX3" fmla="*/ 5914740 w 5914740"/>
              <a:gd name="connsiteY3" fmla="*/ 6855729 h 6855729"/>
              <a:gd name="connsiteX4" fmla="*/ 5996 w 5914740"/>
              <a:gd name="connsiteY4" fmla="*/ 6855729 h 685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14740" h="6855729">
                <a:moveTo>
                  <a:pt x="5996" y="6855729"/>
                </a:moveTo>
                <a:cubicBezTo>
                  <a:pt x="5729" y="4572218"/>
                  <a:pt x="267" y="2283511"/>
                  <a:pt x="0" y="0"/>
                </a:cubicBezTo>
                <a:lnTo>
                  <a:pt x="3469347" y="8048"/>
                </a:lnTo>
                <a:lnTo>
                  <a:pt x="5914740" y="6855729"/>
                </a:lnTo>
                <a:lnTo>
                  <a:pt x="5996" y="68557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itle 6">
            <a:extLst>
              <a:ext uri="{FF2B5EF4-FFF2-40B4-BE49-F238E27FC236}">
                <a16:creationId xmlns:a16="http://schemas.microsoft.com/office/drawing/2014/main" id="{27A00472-91B4-47DD-B2D7-A233095C74C0}"/>
              </a:ext>
            </a:extLst>
          </p:cNvPr>
          <p:cNvSpPr txBox="1">
            <a:spLocks noChangeArrowheads="1"/>
          </p:cNvSpPr>
          <p:nvPr/>
        </p:nvSpPr>
        <p:spPr>
          <a:xfrm>
            <a:off x="551726" y="3895716"/>
            <a:ext cx="6103715" cy="19836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lIns="0" tIns="0" rIns="0" bIns="0" rtlCol="0" anchor="t" anchorCtr="0">
            <a:noAutofit/>
          </a:bodyPr>
          <a:lstStyle>
            <a:lvl1pPr algn="l" defTabSz="68583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5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3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1200" cap="none" spc="0" normalizeH="0" baseline="0" noProof="0">
                <a:ln>
                  <a:noFill/>
                </a:ln>
                <a:solidFill>
                  <a:srgbClr val="3B2082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Convergence of Government Program – 1 : Connectivity and Infrastructure – Road connectivity to the destinations</a:t>
            </a:r>
            <a:endParaRPr kumimoji="0" lang="en-GB" altLang="en-US" sz="2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1BB383-9018-4725-AB54-62F05AB75AE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170" y="228600"/>
            <a:ext cx="4066363" cy="674179"/>
          </a:xfrm>
          <a:prstGeom prst="rect">
            <a:avLst/>
          </a:prstGeom>
        </p:spPr>
      </p:pic>
      <p:pic>
        <p:nvPicPr>
          <p:cNvPr id="29" name="Picture 16" descr="Morth Banner">
            <a:extLst>
              <a:ext uri="{FF2B5EF4-FFF2-40B4-BE49-F238E27FC236}">
                <a16:creationId xmlns:a16="http://schemas.microsoft.com/office/drawing/2014/main" id="{7F6E18C5-1DCE-4ADE-B484-2178EFD251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33563" y="1562332"/>
            <a:ext cx="3044462" cy="1983600"/>
          </a:xfrm>
          <a:prstGeom prst="parallelogram">
            <a:avLst>
              <a:gd name="adj" fmla="val 3846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8" descr="Morth Banner">
            <a:extLst>
              <a:ext uri="{FF2B5EF4-FFF2-40B4-BE49-F238E27FC236}">
                <a16:creationId xmlns:a16="http://schemas.microsoft.com/office/drawing/2014/main" id="{836CD02D-28BA-4194-AD19-A538B8E099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50318" y="1562332"/>
            <a:ext cx="2962761" cy="1983600"/>
          </a:xfrm>
          <a:prstGeom prst="parallelogram">
            <a:avLst>
              <a:gd name="adj" fmla="val 3846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Morth Banner">
            <a:extLst>
              <a:ext uri="{FF2B5EF4-FFF2-40B4-BE49-F238E27FC236}">
                <a16:creationId xmlns:a16="http://schemas.microsoft.com/office/drawing/2014/main" id="{3DEB373F-85D8-4D1C-991E-CFE9C15258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47446" y="1562332"/>
            <a:ext cx="3044462" cy="1983600"/>
          </a:xfrm>
          <a:prstGeom prst="parallelogram">
            <a:avLst>
              <a:gd name="adj" fmla="val 3846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Morth Banner">
            <a:extLst>
              <a:ext uri="{FF2B5EF4-FFF2-40B4-BE49-F238E27FC236}">
                <a16:creationId xmlns:a16="http://schemas.microsoft.com/office/drawing/2014/main" id="{3115F7DC-D201-4E4D-BF0B-35EC968545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19680" y="1562332"/>
            <a:ext cx="2988984" cy="1983600"/>
          </a:xfrm>
          <a:prstGeom prst="parallelogram">
            <a:avLst>
              <a:gd name="adj" fmla="val 38465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B7B99AC-13B3-47D6-B435-B0BF5EB3D3BF}"/>
              </a:ext>
            </a:extLst>
          </p:cNvPr>
          <p:cNvSpPr txBox="1"/>
          <p:nvPr/>
        </p:nvSpPr>
        <p:spPr>
          <a:xfrm>
            <a:off x="508000" y="6011721"/>
            <a:ext cx="35255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B20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9</a:t>
            </a:r>
            <a:r>
              <a:rPr kumimoji="0" lang="en-US" sz="2000" b="1" i="0" u="none" strike="noStrike" kern="1200" cap="none" spc="0" normalizeH="0" baseline="30000" noProof="0">
                <a:ln>
                  <a:noFill/>
                </a:ln>
                <a:solidFill>
                  <a:srgbClr val="3B20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B208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rch 2023</a:t>
            </a:r>
          </a:p>
        </p:txBody>
      </p:sp>
    </p:spTree>
    <p:extLst>
      <p:ext uri="{BB962C8B-B14F-4D97-AF65-F5344CB8AC3E}">
        <p14:creationId xmlns:p14="http://schemas.microsoft.com/office/powerpoint/2010/main" val="2557500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443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Operationalized WSA at Indore, Madhya Pradesh</a:t>
            </a:r>
          </a:p>
        </p:txBody>
      </p:sp>
      <p:sp>
        <p:nvSpPr>
          <p:cNvPr id="17" name="Action Button: Go Forward or Next 16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D40A0F9B-2F17-B396-88F0-B83FC9D6B15E}"/>
              </a:ext>
            </a:extLst>
          </p:cNvPr>
          <p:cNvSpPr/>
          <p:nvPr/>
        </p:nvSpPr>
        <p:spPr>
          <a:xfrm>
            <a:off x="11395991" y="435988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D9DFB4-7B0C-120F-56B1-28A3B36C1005}"/>
              </a:ext>
            </a:extLst>
          </p:cNvPr>
          <p:cNvSpPr txBox="1"/>
          <p:nvPr/>
        </p:nvSpPr>
        <p:spPr>
          <a:xfrm>
            <a:off x="9653029" y="435988"/>
            <a:ext cx="17540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Standard Layouts: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C2DD4F-6BF2-8881-9F27-E6B7551C139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36" b="6536"/>
          <a:stretch/>
        </p:blipFill>
        <p:spPr>
          <a:xfrm>
            <a:off x="7721042" y="1120139"/>
            <a:ext cx="4149167" cy="27051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CCABEA-2890-D83E-7280-DC9ABE3B4AE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318" t="40218" r="28791" b="19415"/>
          <a:stretch/>
        </p:blipFill>
        <p:spPr>
          <a:xfrm>
            <a:off x="3307249" y="3901440"/>
            <a:ext cx="4156618" cy="27051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8A019B-A977-40DD-2B1C-01737B8B5B4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44" r="16806" b="6544"/>
          <a:stretch/>
        </p:blipFill>
        <p:spPr>
          <a:xfrm>
            <a:off x="3314700" y="1120139"/>
            <a:ext cx="4141715" cy="270457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6EA86AC-B543-648B-EB9C-CAD93B56C794}"/>
              </a:ext>
            </a:extLst>
          </p:cNvPr>
          <p:cNvSpPr/>
          <p:nvPr/>
        </p:nvSpPr>
        <p:spPr>
          <a:xfrm>
            <a:off x="749172" y="2137338"/>
            <a:ext cx="2286000" cy="2704574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</a:rPr>
              <a:t>Developer: 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</a:rPr>
              <a:t>Cube Highways Ltd. </a:t>
            </a:r>
          </a:p>
          <a:p>
            <a:pPr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</a:rPr>
              <a:t>Location: 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</a:rPr>
              <a:t>Km 63+300 (RHS) of NH-52 (old NH-3) of Indore - </a:t>
            </a:r>
            <a:r>
              <a:rPr lang="en-US" sz="1600" err="1">
                <a:solidFill>
                  <a:schemeClr val="tx1"/>
                </a:solidFill>
                <a:latin typeface="Arial" panose="020B0604020202020204" pitchFamily="34" charset="0"/>
              </a:rPr>
              <a:t>Khalghat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</a:rPr>
              <a:t>, Dhar District, Madhya Pradesh (at </a:t>
            </a:r>
            <a:r>
              <a:rPr lang="en-US" sz="1600" err="1">
                <a:solidFill>
                  <a:schemeClr val="tx1"/>
                </a:solidFill>
                <a:latin typeface="Arial" panose="020B0604020202020204" pitchFamily="34" charset="0"/>
              </a:rPr>
              <a:t>Sankota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</a:rPr>
              <a:t>)</a:t>
            </a:r>
          </a:p>
          <a:p>
            <a:pPr>
              <a:lnSpc>
                <a:spcPct val="90000"/>
              </a:lnSpc>
            </a:pPr>
            <a:endParaRPr lang="en-US" sz="1600" b="1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600" b="1">
                <a:solidFill>
                  <a:schemeClr val="tx1"/>
                </a:solidFill>
                <a:latin typeface="Arial" panose="020B0604020202020204" pitchFamily="34" charset="0"/>
              </a:rPr>
              <a:t>Site Area: </a:t>
            </a: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</a:rPr>
              <a:t>1 Ha.</a:t>
            </a:r>
          </a:p>
          <a:p>
            <a:pPr>
              <a:lnSpc>
                <a:spcPct val="90000"/>
              </a:lnSpc>
            </a:pPr>
            <a:endParaRPr lang="en-US" sz="1600" b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C0B5BF4-85B2-B403-2BC5-877C236030E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533" t="34335" r="22280" b="15609"/>
          <a:stretch/>
        </p:blipFill>
        <p:spPr>
          <a:xfrm>
            <a:off x="7721042" y="3919337"/>
            <a:ext cx="4149167" cy="270510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47776B7-D48F-0E8B-C67E-52F5FB82AA9D}"/>
              </a:ext>
            </a:extLst>
          </p:cNvPr>
          <p:cNvSpPr txBox="1"/>
          <p:nvPr/>
        </p:nvSpPr>
        <p:spPr>
          <a:xfrm>
            <a:off x="3307249" y="6274917"/>
            <a:ext cx="4149167" cy="33855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Toilets</a:t>
            </a:r>
            <a:endParaRPr lang="en-US" sz="160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79AF366-CCF3-636E-9679-9F60AF7434A8}"/>
              </a:ext>
            </a:extLst>
          </p:cNvPr>
          <p:cNvSpPr txBox="1"/>
          <p:nvPr/>
        </p:nvSpPr>
        <p:spPr>
          <a:xfrm>
            <a:off x="7728493" y="6274917"/>
            <a:ext cx="4149167" cy="33855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Dormitory</a:t>
            </a:r>
            <a:endParaRPr lang="en-US" sz="160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1ED86F-456C-C979-43A4-C1CAAE937050}"/>
              </a:ext>
            </a:extLst>
          </p:cNvPr>
          <p:cNvSpPr txBox="1"/>
          <p:nvPr/>
        </p:nvSpPr>
        <p:spPr>
          <a:xfrm>
            <a:off x="3307249" y="3489625"/>
            <a:ext cx="4149167" cy="33855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Exterior View</a:t>
            </a:r>
            <a:endParaRPr lang="en-US" sz="160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F0B05AB-41C1-A289-A348-838EB1CBD035}"/>
              </a:ext>
            </a:extLst>
          </p:cNvPr>
          <p:cNvSpPr txBox="1"/>
          <p:nvPr/>
        </p:nvSpPr>
        <p:spPr>
          <a:xfrm>
            <a:off x="7728493" y="3489625"/>
            <a:ext cx="4149167" cy="338554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</p:spPr>
        <p:txBody>
          <a:bodyPr wrap="square">
            <a:spAutoFit/>
          </a:bodyPr>
          <a:lstStyle/>
          <a:p>
            <a:r>
              <a:rPr lang="en-US" sz="16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</a:rPr>
              <a:t>Restaurant</a:t>
            </a:r>
            <a:endParaRPr lang="en-US" sz="160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6228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13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Roles and Responsibilities of Different Parties</a:t>
            </a:r>
          </a:p>
        </p:txBody>
      </p:sp>
      <p:sp>
        <p:nvSpPr>
          <p:cNvPr id="4" name="Rounded Rectangle 23">
            <a:extLst>
              <a:ext uri="{FF2B5EF4-FFF2-40B4-BE49-F238E27FC236}">
                <a16:creationId xmlns:a16="http://schemas.microsoft.com/office/drawing/2014/main" id="{8933CEC0-D5CF-D328-B6F7-2D41AA79AD69}"/>
              </a:ext>
            </a:extLst>
          </p:cNvPr>
          <p:cNvSpPr/>
          <p:nvPr/>
        </p:nvSpPr>
        <p:spPr>
          <a:xfrm>
            <a:off x="965629" y="1042641"/>
            <a:ext cx="4763764" cy="82445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Source Sans Pro" panose="020B0503030403020204" pitchFamily="34" charset="0"/>
              </a:rPr>
              <a:t>Authority</a:t>
            </a: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51A7EC6F-6135-EB77-34F3-5758ED9234EA}"/>
              </a:ext>
            </a:extLst>
          </p:cNvPr>
          <p:cNvSpPr/>
          <p:nvPr/>
        </p:nvSpPr>
        <p:spPr>
          <a:xfrm>
            <a:off x="965629" y="1951951"/>
            <a:ext cx="4763764" cy="4245647"/>
          </a:xfrm>
          <a:prstGeom prst="roundRect">
            <a:avLst>
              <a:gd name="adj" fmla="val 10000"/>
            </a:avLst>
          </a:pr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6428375"/>
              <a:satOff val="1741"/>
              <a:lumOff val="19706"/>
              <a:alphaOff val="0"/>
            </a:schemeClr>
          </a:fillRef>
          <a:effectRef idx="0">
            <a:schemeClr val="accent2">
              <a:hueOff val="6428375"/>
              <a:satOff val="1741"/>
              <a:lumOff val="1970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2EFF0621-01FA-FA61-8827-291044C0A8FE}"/>
              </a:ext>
            </a:extLst>
          </p:cNvPr>
          <p:cNvSpPr txBox="1"/>
          <p:nvPr/>
        </p:nvSpPr>
        <p:spPr>
          <a:xfrm>
            <a:off x="1076868" y="2043107"/>
            <a:ext cx="4396831" cy="339249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Access permission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 for land parcels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Provision of </a:t>
            </a: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encumbrance free land 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Approval of construction and development plan 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shared by private party for unconstructed brownfield sites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Monitor </a:t>
            </a: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development and operations 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of WSA </a:t>
            </a:r>
          </a:p>
        </p:txBody>
      </p:sp>
      <p:sp>
        <p:nvSpPr>
          <p:cNvPr id="7" name="Rounded Rectangle 19">
            <a:extLst>
              <a:ext uri="{FF2B5EF4-FFF2-40B4-BE49-F238E27FC236}">
                <a16:creationId xmlns:a16="http://schemas.microsoft.com/office/drawing/2014/main" id="{EE6839FD-68EE-7CDB-068B-AAAF8EAF30F9}"/>
              </a:ext>
            </a:extLst>
          </p:cNvPr>
          <p:cNvSpPr/>
          <p:nvPr/>
        </p:nvSpPr>
        <p:spPr>
          <a:xfrm>
            <a:off x="6036729" y="1036659"/>
            <a:ext cx="4764024" cy="824459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FFFFFF"/>
                </a:solidFill>
                <a:latin typeface="+mj-lt"/>
                <a:ea typeface="Source Sans Pro" panose="020B0503030403020204" pitchFamily="34" charset="0"/>
              </a:rPr>
              <a:t>Private Party</a:t>
            </a:r>
            <a:endParaRPr lang="en-IN" sz="2000" b="1">
              <a:solidFill>
                <a:srgbClr val="FFFFFF"/>
              </a:solidFill>
              <a:latin typeface="+mj-lt"/>
              <a:ea typeface="Source Sans Pro" panose="020B0503030403020204" pitchFamily="34" charset="0"/>
            </a:endParaRPr>
          </a:p>
        </p:txBody>
      </p:sp>
      <p:sp>
        <p:nvSpPr>
          <p:cNvPr id="8" name="Rounded Rectangle 11">
            <a:extLst>
              <a:ext uri="{FF2B5EF4-FFF2-40B4-BE49-F238E27FC236}">
                <a16:creationId xmlns:a16="http://schemas.microsoft.com/office/drawing/2014/main" id="{23B847BA-5E12-E6C7-E2AD-CFA3AE251058}"/>
              </a:ext>
            </a:extLst>
          </p:cNvPr>
          <p:cNvSpPr/>
          <p:nvPr/>
        </p:nvSpPr>
        <p:spPr>
          <a:xfrm>
            <a:off x="6036727" y="1951952"/>
            <a:ext cx="4763764" cy="4245648"/>
          </a:xfrm>
          <a:prstGeom prst="roundRect">
            <a:avLst>
              <a:gd name="adj" fmla="val 10000"/>
            </a:avLst>
          </a:prstGeom>
          <a:solidFill>
            <a:srgbClr val="F2F2F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6428375"/>
              <a:satOff val="1741"/>
              <a:lumOff val="19706"/>
              <a:alphaOff val="0"/>
            </a:schemeClr>
          </a:fillRef>
          <a:effectRef idx="0">
            <a:schemeClr val="accent2">
              <a:hueOff val="6428375"/>
              <a:satOff val="1741"/>
              <a:lumOff val="1970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ounded Rectangle 4">
            <a:extLst>
              <a:ext uri="{FF2B5EF4-FFF2-40B4-BE49-F238E27FC236}">
                <a16:creationId xmlns:a16="http://schemas.microsoft.com/office/drawing/2014/main" id="{A45F0FB5-B1C4-5860-E88E-BF4CF5F21E69}"/>
              </a:ext>
            </a:extLst>
          </p:cNvPr>
          <p:cNvSpPr txBox="1"/>
          <p:nvPr/>
        </p:nvSpPr>
        <p:spPr>
          <a:xfrm>
            <a:off x="6096000" y="2043107"/>
            <a:ext cx="4572000" cy="41544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Funds 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for establishment of WSA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Design, construction and development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 of WSA  including Operations &amp; Maintenance</a:t>
            </a:r>
          </a:p>
          <a:p>
            <a:pPr marL="410464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 u="sng">
                <a:solidFill>
                  <a:schemeClr val="tx1"/>
                </a:solidFill>
                <a:ea typeface="Source Sans Pro" panose="020B0503030403020204" pitchFamily="34" charset="0"/>
              </a:rPr>
              <a:t>30 years lease:</a:t>
            </a:r>
            <a:r>
              <a:rPr lang="en-US" sz="1600">
                <a:solidFill>
                  <a:schemeClr val="tx1"/>
                </a:solidFill>
                <a:ea typeface="Source Sans Pro" panose="020B0503030403020204" pitchFamily="34" charset="0"/>
              </a:rPr>
              <a:t> Construction and commencement of operations on brownfield sites withing 10 months of contract signing</a:t>
            </a:r>
          </a:p>
          <a:p>
            <a:pPr marL="410464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 b="1" u="sng">
                <a:solidFill>
                  <a:schemeClr val="tx1"/>
                </a:solidFill>
                <a:ea typeface="Source Sans Pro" panose="020B0503030403020204" pitchFamily="34" charset="0"/>
              </a:rPr>
              <a:t>15 years lease:</a:t>
            </a:r>
            <a:r>
              <a:rPr lang="en-US" sz="1600">
                <a:solidFill>
                  <a:schemeClr val="tx1"/>
                </a:solidFill>
                <a:ea typeface="Source Sans Pro" panose="020B0503030403020204" pitchFamily="34" charset="0"/>
              </a:rPr>
              <a:t> Operationalization of constructed facilities within 8 months of signing of lease agreement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Obtaining </a:t>
            </a: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clearance and approval </a:t>
            </a: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from concerned Authority for operationalization</a:t>
            </a:r>
          </a:p>
          <a:p>
            <a:pPr marL="203200" lvl="1" indent="-203200" defTabSz="7112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Maintain and operate WSA as per </a:t>
            </a:r>
            <a:r>
              <a:rPr lang="en-US" sz="16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industry standard</a:t>
            </a:r>
          </a:p>
        </p:txBody>
      </p:sp>
      <p:sp>
        <p:nvSpPr>
          <p:cNvPr id="2" name="Action Button: Go Forward or Next 1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15B21EF6-027E-9FDB-F4EB-2FCC7245A411}"/>
              </a:ext>
            </a:extLst>
          </p:cNvPr>
          <p:cNvSpPr/>
          <p:nvPr/>
        </p:nvSpPr>
        <p:spPr>
          <a:xfrm>
            <a:off x="11395991" y="435988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558C1D-0E1D-3962-C34B-9B16DD622B4A}"/>
              </a:ext>
            </a:extLst>
          </p:cNvPr>
          <p:cNvSpPr txBox="1"/>
          <p:nvPr/>
        </p:nvSpPr>
        <p:spPr>
          <a:xfrm>
            <a:off x="9509808" y="435988"/>
            <a:ext cx="19367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Bidding Parameters:</a:t>
            </a:r>
          </a:p>
        </p:txBody>
      </p:sp>
    </p:spTree>
    <p:extLst>
      <p:ext uri="{BB962C8B-B14F-4D97-AF65-F5344CB8AC3E}">
        <p14:creationId xmlns:p14="http://schemas.microsoft.com/office/powerpoint/2010/main" val="774741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F4ABB6A-65A3-4285-A674-EC68A8AC99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087" y="1560061"/>
            <a:ext cx="4066363" cy="674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15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E8D8C5-1D2A-C4D5-5AA2-C71CD2AB55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141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E8D8C5-1D2A-C4D5-5AA2-C71CD2AB55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557706-AB79-B334-AD85-6EE520F7D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757" y="175522"/>
            <a:ext cx="10185600" cy="518400"/>
          </a:xfrm>
        </p:spPr>
        <p:txBody>
          <a:bodyPr vert="horz"/>
          <a:lstStyle/>
          <a:p>
            <a:r>
              <a:rPr lang="en-US"/>
              <a:t>Letter received from Ministry of Tourism on 28</a:t>
            </a:r>
            <a:r>
              <a:rPr lang="en-US" baseline="30000"/>
              <a:t>th</a:t>
            </a:r>
            <a:r>
              <a:rPr lang="en-US"/>
              <a:t> January 2020 with regards to 50 tourist destin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815452-FD26-F0F4-332C-8D21DABCED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86725DD-3406-2252-8B73-726326D07F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87603" y="1059262"/>
            <a:ext cx="4029402" cy="56103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Action Button: Go Forward or Next 16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4FA0D0E5-9012-8554-6FB0-9750E8D17362}"/>
              </a:ext>
            </a:extLst>
          </p:cNvPr>
          <p:cNvSpPr/>
          <p:nvPr/>
        </p:nvSpPr>
        <p:spPr>
          <a:xfrm rot="10800000">
            <a:off x="11387347" y="448926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726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E8D8C5-1D2A-C4D5-5AA2-C71CD2AB55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980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E8D8C5-1D2A-C4D5-5AA2-C71CD2AB55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815452-FD26-F0F4-332C-8D21DABCED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5F3945-0AB4-8B81-4627-B4E38C83C0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69108" y="1117334"/>
            <a:ext cx="4453783" cy="54666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201679D4-8B6D-A968-E6AC-4FA6BC1A3137}"/>
              </a:ext>
            </a:extLst>
          </p:cNvPr>
          <p:cNvSpPr txBox="1">
            <a:spLocks/>
          </p:cNvSpPr>
          <p:nvPr/>
        </p:nvSpPr>
        <p:spPr>
          <a:xfrm>
            <a:off x="601757" y="175522"/>
            <a:ext cx="10185600" cy="518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b="1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Letter received from Ministry of Tourism on 26</a:t>
            </a:r>
            <a:r>
              <a:rPr lang="en-US" baseline="30000"/>
              <a:t>th</a:t>
            </a:r>
            <a:r>
              <a:rPr lang="en-US"/>
              <a:t> December 2019 with regards to 100 tourist destinations</a:t>
            </a:r>
          </a:p>
        </p:txBody>
      </p:sp>
      <p:sp>
        <p:nvSpPr>
          <p:cNvPr id="24" name="Action Button: Go Forward or Next 23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ABC4D4D2-8B32-D078-D522-220401737C9B}"/>
              </a:ext>
            </a:extLst>
          </p:cNvPr>
          <p:cNvSpPr/>
          <p:nvPr/>
        </p:nvSpPr>
        <p:spPr>
          <a:xfrm rot="10800000">
            <a:off x="11387347" y="448926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543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9902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</a:t>
            </a:r>
            <a:r>
              <a:rPr lang="en-US" err="1"/>
              <a:t>MoRT&amp;H</a:t>
            </a:r>
            <a:r>
              <a:rPr lang="en-US"/>
              <a:t> projects aiding tourism – Phase 1 tourist destinations (1/2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078418"/>
              </p:ext>
            </p:extLst>
          </p:nvPr>
        </p:nvGraphicFramePr>
        <p:xfrm>
          <a:off x="645369" y="1053296"/>
          <a:ext cx="11081424" cy="540378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82823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160902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2882643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795416058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200086816"/>
                    </a:ext>
                  </a:extLst>
                </a:gridCol>
              </a:tblGrid>
              <a:tr h="79323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S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Completed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Ongoing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BFA Project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ndhr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unachal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s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iha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andigar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hhattisgar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man &amp; Di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ujara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ry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machal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&amp;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54975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natak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2169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ral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545302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dhy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856650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harasht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60298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ip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895517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eghalay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930944"/>
                  </a:ext>
                </a:extLst>
              </a:tr>
            </a:tbl>
          </a:graphicData>
        </a:graphic>
      </p:graphicFrame>
      <p:sp>
        <p:nvSpPr>
          <p:cNvPr id="25" name="Action Button: Go Forward or Next 2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E4ED65FE-83BE-7EF5-3B72-887B06C0592B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6201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050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</a:t>
            </a:r>
            <a:r>
              <a:rPr lang="en-US" err="1"/>
              <a:t>MoRT&amp;H</a:t>
            </a:r>
            <a:r>
              <a:rPr lang="en-US"/>
              <a:t> projects aiding tourism – Phase 1 tourist destinations (2/2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0872482"/>
              </p:ext>
            </p:extLst>
          </p:nvPr>
        </p:nvGraphicFramePr>
        <p:xfrm>
          <a:off x="645369" y="1053296"/>
          <a:ext cx="11081424" cy="377653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82823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160902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2882643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795416058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200086816"/>
                    </a:ext>
                  </a:extLst>
                </a:gridCol>
              </a:tblGrid>
              <a:tr h="79323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S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Completed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Ongoing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BFA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zor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gal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dish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jastha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ikki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mil Nad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elang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ripu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ttar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27120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 Beng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27120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622353"/>
                  </a:ext>
                </a:extLst>
              </a:tr>
            </a:tbl>
          </a:graphicData>
        </a:graphic>
      </p:graphicFrame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D818ECCA-DED7-4191-BE81-4E290B2E5B9E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061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102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</a:t>
            </a:r>
            <a:r>
              <a:rPr lang="en-US" err="1"/>
              <a:t>MoRT&amp;H</a:t>
            </a:r>
            <a:r>
              <a:rPr lang="en-US"/>
              <a:t> projects aiding tourism – Phase 2 tourist destinations (1/2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624075"/>
              </p:ext>
            </p:extLst>
          </p:nvPr>
        </p:nvGraphicFramePr>
        <p:xfrm>
          <a:off x="645369" y="1053296"/>
          <a:ext cx="11081424" cy="500461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82823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160902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2882643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795416058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200086816"/>
                    </a:ext>
                  </a:extLst>
                </a:gridCol>
              </a:tblGrid>
              <a:tr h="9191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S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Completed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Ongoing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BFA Projects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ndhr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s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iha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ujara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ary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machal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Himachal Pradesh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arnatak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eral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dhy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harasht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54975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nip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21691"/>
                  </a:ext>
                </a:extLst>
              </a:tr>
              <a:tr h="314265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dish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545302"/>
                  </a:ext>
                </a:extLst>
              </a:tr>
            </a:tbl>
          </a:graphicData>
        </a:graphic>
      </p:graphicFrame>
      <p:sp>
        <p:nvSpPr>
          <p:cNvPr id="25" name="Action Button: Go Forward or Next 2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E4ED65FE-83BE-7EF5-3B72-887B06C0592B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829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2853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</a:t>
            </a:r>
            <a:r>
              <a:rPr lang="en-US" err="1"/>
              <a:t>MoRT&amp;H</a:t>
            </a:r>
            <a:r>
              <a:rPr lang="en-US"/>
              <a:t> projects aiding tourism – Phase 2 tourist destinations (2/2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126141"/>
              </p:ext>
            </p:extLst>
          </p:nvPr>
        </p:nvGraphicFramePr>
        <p:xfrm>
          <a:off x="645369" y="1053296"/>
          <a:ext cx="11081424" cy="340440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082823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160902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2882643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795416058"/>
                    </a:ext>
                  </a:extLst>
                </a:gridCol>
                <a:gridCol w="2477528">
                  <a:extLst>
                    <a:ext uri="{9D8B030D-6E8A-4147-A177-3AD203B41FA5}">
                      <a16:colId xmlns:a16="http://schemas.microsoft.com/office/drawing/2014/main" val="2200086816"/>
                    </a:ext>
                  </a:extLst>
                </a:gridCol>
              </a:tblGrid>
              <a:tr h="1003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St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Completed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Ongoing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BFA Project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ajastha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ikki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amil Nad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ttar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ttarakh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343019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est Beng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34301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622353"/>
                  </a:ext>
                </a:extLst>
              </a:tr>
            </a:tbl>
          </a:graphicData>
        </a:graphic>
      </p:graphicFrame>
      <p:sp>
        <p:nvSpPr>
          <p:cNvPr id="4" name="Action Button: Go Forward or Next 3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10491B2E-5D7C-D499-DAF0-914638E39159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778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Connectivity to Buddhist Circuit Locations – Uttar Pradesh (1/2)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293B588-D3A6-70A6-DA18-59B43F08E3A8}"/>
              </a:ext>
            </a:extLst>
          </p:cNvPr>
          <p:cNvGraphicFramePr>
            <a:graphicFrameLocks noGrp="1"/>
          </p:cNvGraphicFramePr>
          <p:nvPr/>
        </p:nvGraphicFramePr>
        <p:xfrm>
          <a:off x="622894" y="1044387"/>
          <a:ext cx="11182113" cy="52882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68503">
                  <a:extLst>
                    <a:ext uri="{9D8B030D-6E8A-4147-A177-3AD203B41FA5}">
                      <a16:colId xmlns:a16="http://schemas.microsoft.com/office/drawing/2014/main" val="3135303598"/>
                    </a:ext>
                  </a:extLst>
                </a:gridCol>
                <a:gridCol w="4116839">
                  <a:extLst>
                    <a:ext uri="{9D8B030D-6E8A-4147-A177-3AD203B41FA5}">
                      <a16:colId xmlns:a16="http://schemas.microsoft.com/office/drawing/2014/main" val="1746647890"/>
                    </a:ext>
                  </a:extLst>
                </a:gridCol>
                <a:gridCol w="4309891">
                  <a:extLst>
                    <a:ext uri="{9D8B030D-6E8A-4147-A177-3AD203B41FA5}">
                      <a16:colId xmlns:a16="http://schemas.microsoft.com/office/drawing/2014/main" val="893452745"/>
                    </a:ext>
                  </a:extLst>
                </a:gridCol>
                <a:gridCol w="2286880">
                  <a:extLst>
                    <a:ext uri="{9D8B030D-6E8A-4147-A177-3AD203B41FA5}">
                      <a16:colId xmlns:a16="http://schemas.microsoft.com/office/drawing/2014/main" val="3471262466"/>
                    </a:ext>
                  </a:extLst>
                </a:gridCol>
              </a:tblGrid>
              <a:tr h="22722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Action Poi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Current Status</a:t>
                      </a:r>
                      <a:endParaRPr lang="en-US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Time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454328"/>
                  </a:ext>
                </a:extLst>
              </a:tr>
              <a:tr h="238048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/>
                        <a:t>Projects executed through National Highways Authority in India</a:t>
                      </a:r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543295"/>
                  </a:ext>
                </a:extLst>
              </a:tr>
              <a:tr h="173126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1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Varanasi Ring Road, NH 31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1 – completed 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0" algn="ctr" fontAlgn="ctr"/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4822003"/>
                  </a:ext>
                </a:extLst>
              </a:tr>
              <a:tr h="69250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hase 2 –  </a:t>
                      </a:r>
                    </a:p>
                    <a:p>
                      <a:pPr marL="225425" indent="0" algn="l">
                        <a:lnSpc>
                          <a:spcPct val="100000"/>
                        </a:lnSpc>
                      </a:pP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Package 1 – Completed  </a:t>
                      </a:r>
                    </a:p>
                    <a:p>
                      <a:pPr marL="225425" indent="0" algn="l">
                        <a:lnSpc>
                          <a:spcPct val="100000"/>
                        </a:lnSpc>
                      </a:pP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ckage 2 – Under  Implementation with     </a:t>
                      </a:r>
                      <a:r>
                        <a:rPr kumimoji="0" lang="en-US" sz="1600" b="1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% </a:t>
                      </a: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hysical progress</a:t>
                      </a:r>
                      <a:endParaRPr lang="en-US" sz="1600" b="1" i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0"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.02.2024</a:t>
                      </a:r>
                      <a:endParaRPr lang="en-US" sz="1600" i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113701"/>
                  </a:ext>
                </a:extLst>
              </a:tr>
              <a:tr h="173126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Upgradation of 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NH 29: Varanasi to Gorakhpur under various packages for a total of 203.15 Km of which work for 123 Km has been completed.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2 – Completed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0" algn="ctr" fontAlgn="ctr"/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247765"/>
                  </a:ext>
                </a:extLst>
              </a:tr>
              <a:tr h="3462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3 – Under  Implementation with 93% 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3.20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9963155"/>
                  </a:ext>
                </a:extLst>
              </a:tr>
              <a:tr h="3462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4 – Under Implementation with 92% physical progress</a:t>
                      </a:r>
                      <a:endParaRPr lang="en-US" sz="1600" b="0" i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3.20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187246"/>
                  </a:ext>
                </a:extLst>
              </a:tr>
              <a:tr h="69250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3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Operation &amp; Maintenance of NH 28 (New NH 27) Gorakhpur to UP Bihar Border Section in state of UP on OMT basis.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03200" marR="0" lvl="1" indent="-2032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buChar char="–"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ruction work completed </a:t>
                      </a:r>
                      <a:endParaRPr lang="en-US" sz="1600" kern="120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03200" lvl="1" indent="-203200" algn="l">
                        <a:lnSpc>
                          <a:spcPct val="100000"/>
                        </a:lnSpc>
                        <a:buClr>
                          <a:schemeClr val="tx1"/>
                        </a:buClr>
                        <a:buSzPct val="100000"/>
                        <a:buFont typeface="Arial" panose="020B0604020202020204" pitchFamily="34" charset="0"/>
                        <a:buChar char="–"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Maintenance work of OMT stretch is in good condition.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0" algn="ctr" fontAlgn="ctr"/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983190"/>
                  </a:ext>
                </a:extLst>
              </a:tr>
              <a:tr h="3462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/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Four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laning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Ghagra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bridge to Varanasi-Connects to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Shravasti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2: Under implementation with 96% 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3.2023</a:t>
                      </a:r>
                      <a:r>
                        <a:rPr lang="en-US" sz="160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646497"/>
                  </a:ext>
                </a:extLst>
              </a:tr>
              <a:tr h="1785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3: Complet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5988131"/>
                  </a:ext>
                </a:extLst>
              </a:tr>
              <a:tr h="346252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/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Four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laning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of Sultanpur- Varanasi section of NH-56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1- Under implementation  with 90% physical progress 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3.2023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3608692"/>
                  </a:ext>
                </a:extLst>
              </a:tr>
              <a:tr h="17851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2- </a:t>
                      </a:r>
                      <a:r>
                        <a:rPr lang="en-US" sz="1600" b="0" i="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leted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3063460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BCD33E6-99D4-51FB-2846-785997C8075A}"/>
              </a:ext>
            </a:extLst>
          </p:cNvPr>
          <p:cNvSpPr txBox="1"/>
          <p:nvPr/>
        </p:nvSpPr>
        <p:spPr>
          <a:xfrm>
            <a:off x="561250" y="6577233"/>
            <a:ext cx="14414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900"/>
              <a:t>Status as of Feb ‘23</a:t>
            </a:r>
          </a:p>
        </p:txBody>
      </p:sp>
    </p:spTree>
    <p:extLst>
      <p:ext uri="{BB962C8B-B14F-4D97-AF65-F5344CB8AC3E}">
        <p14:creationId xmlns:p14="http://schemas.microsoft.com/office/powerpoint/2010/main" val="10217900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C3A2A42-AB73-4639-98D2-38FABA674F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/>
              <a:t>Agend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A2F7ED2-D38A-47EA-8DD2-B4B4F2075572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622894" y="1312914"/>
            <a:ext cx="10972800" cy="3176893"/>
          </a:xfrm>
        </p:spPr>
        <p:txBody>
          <a:bodyPr/>
          <a:lstStyle/>
          <a:p>
            <a:pPr marL="342900" indent="-342900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+mj-lt"/>
              <a:buAutoNum type="arabicPeriod"/>
            </a:pPr>
            <a:r>
              <a:rPr lang="en-IN" sz="2800" b="1">
                <a:solidFill>
                  <a:schemeClr val="accent1"/>
                </a:solidFill>
              </a:rPr>
              <a:t>Providing Connectivity to Tourist Destinations</a:t>
            </a:r>
            <a:endParaRPr lang="en-IN" sz="2800">
              <a:solidFill>
                <a:schemeClr val="accent1"/>
              </a:solidFill>
            </a:endParaRPr>
          </a:p>
          <a:p>
            <a:pPr marL="342900" indent="-342900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Clr>
                <a:schemeClr val="accent1"/>
              </a:buClr>
              <a:buSzPct val="100000"/>
              <a:buFont typeface="+mj-lt"/>
              <a:buAutoNum type="arabicPeriod"/>
            </a:pPr>
            <a:r>
              <a:rPr lang="en-IN" sz="2800" b="1">
                <a:solidFill>
                  <a:schemeClr val="accent1"/>
                </a:solidFill>
              </a:rPr>
              <a:t>Development of WSAs</a:t>
            </a:r>
          </a:p>
        </p:txBody>
      </p:sp>
    </p:spTree>
    <p:extLst>
      <p:ext uri="{BB962C8B-B14F-4D97-AF65-F5344CB8AC3E}">
        <p14:creationId xmlns:p14="http://schemas.microsoft.com/office/powerpoint/2010/main" val="3194181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Connectivity to Buddhist Circuit Locations – Uttar Pradesh (2/2)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293B588-D3A6-70A6-DA18-59B43F08E3A8}"/>
              </a:ext>
            </a:extLst>
          </p:cNvPr>
          <p:cNvGraphicFramePr>
            <a:graphicFrameLocks noGrp="1"/>
          </p:cNvGraphicFramePr>
          <p:nvPr/>
        </p:nvGraphicFramePr>
        <p:xfrm>
          <a:off x="622894" y="1044387"/>
          <a:ext cx="11182113" cy="52882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68503">
                  <a:extLst>
                    <a:ext uri="{9D8B030D-6E8A-4147-A177-3AD203B41FA5}">
                      <a16:colId xmlns:a16="http://schemas.microsoft.com/office/drawing/2014/main" val="3135303598"/>
                    </a:ext>
                  </a:extLst>
                </a:gridCol>
                <a:gridCol w="4116839">
                  <a:extLst>
                    <a:ext uri="{9D8B030D-6E8A-4147-A177-3AD203B41FA5}">
                      <a16:colId xmlns:a16="http://schemas.microsoft.com/office/drawing/2014/main" val="1746647890"/>
                    </a:ext>
                  </a:extLst>
                </a:gridCol>
                <a:gridCol w="4309891">
                  <a:extLst>
                    <a:ext uri="{9D8B030D-6E8A-4147-A177-3AD203B41FA5}">
                      <a16:colId xmlns:a16="http://schemas.microsoft.com/office/drawing/2014/main" val="893452745"/>
                    </a:ext>
                  </a:extLst>
                </a:gridCol>
                <a:gridCol w="2286880">
                  <a:extLst>
                    <a:ext uri="{9D8B030D-6E8A-4147-A177-3AD203B41FA5}">
                      <a16:colId xmlns:a16="http://schemas.microsoft.com/office/drawing/2014/main" val="3471262466"/>
                    </a:ext>
                  </a:extLst>
                </a:gridCol>
              </a:tblGrid>
              <a:tr h="22722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Action Poi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Current Status</a:t>
                      </a:r>
                      <a:endParaRPr lang="en-US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Time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454328"/>
                  </a:ext>
                </a:extLst>
              </a:tr>
              <a:tr h="238048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/>
                        <a:t>Projects executed through Roads Wing</a:t>
                      </a:r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543295"/>
                  </a:ext>
                </a:extLst>
              </a:tr>
              <a:tr h="1731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6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Rehabilitation &amp; Upgradation of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Bahraich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–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Shrawasti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section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4822003"/>
                  </a:ext>
                </a:extLst>
              </a:tr>
              <a:tr h="69250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7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Widening and strengthening of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Shrawasti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en-US" sz="1600" kern="1200" err="1">
                          <a:solidFill>
                            <a:schemeClr val="tx1"/>
                          </a:solidFill>
                        </a:rPr>
                        <a:t>Balrampur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section of NH-730 to two lane carriageway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113701"/>
                  </a:ext>
                </a:extLst>
              </a:tr>
              <a:tr h="1731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8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NH 233 Indo Nepal border t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Rudhauli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Section: Connects to Kapilvastu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–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247765"/>
                  </a:ext>
                </a:extLst>
              </a:tr>
              <a:tr h="34625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9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Tw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laning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from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Kaptanganj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Padrauna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section on NH-730 : Connects t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Kushinagar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Under Implementation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</a:t>
                      </a:r>
                      <a:r>
                        <a:rPr lang="en-US" sz="1600" b="1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% 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06.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9963155"/>
                  </a:ext>
                </a:extLst>
              </a:tr>
              <a:tr h="34625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/>
                        <a:t>10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Widening and stage strengthening of NH 730 – Connects to Kushinagar- 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187246"/>
                  </a:ext>
                </a:extLst>
              </a:tr>
              <a:tr h="6925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/>
                        <a:t>11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 work from km 130.400 to 135.00 &amp; 154.00 to 168.00 of NH-28B (727) on EPC mode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983190"/>
                  </a:ext>
                </a:extLst>
              </a:tr>
              <a:tr h="34625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NH 731A- (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Kaushambi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is 30 km away)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 - 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Strengthening of existing road  from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Mohanganj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Lalgopalganj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and from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Muratganj</a:t>
                      </a:r>
                      <a:r>
                        <a:rPr lang="en-US" sz="1600">
                          <a:solidFill>
                            <a:schemeClr val="tx1"/>
                          </a:solidFill>
                        </a:rPr>
                        <a:t> to </a:t>
                      </a:r>
                      <a:r>
                        <a:rPr lang="en-US" sz="1600" err="1">
                          <a:solidFill>
                            <a:schemeClr val="tx1"/>
                          </a:solidFill>
                        </a:rPr>
                        <a:t>Mahewaghat</a:t>
                      </a:r>
                      <a:endParaRPr lang="en-US" sz="160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Completed</a:t>
                      </a:r>
                      <a:endParaRPr lang="en-US" sz="1600" b="1" i="1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64649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528632A-A4BA-E068-652A-E7EA835A5C6C}"/>
              </a:ext>
            </a:extLst>
          </p:cNvPr>
          <p:cNvSpPr txBox="1"/>
          <p:nvPr/>
        </p:nvSpPr>
        <p:spPr>
          <a:xfrm>
            <a:off x="561250" y="6577233"/>
            <a:ext cx="14414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900"/>
              <a:t>Status as of Feb ‘23</a:t>
            </a:r>
          </a:p>
        </p:txBody>
      </p:sp>
    </p:spTree>
    <p:extLst>
      <p:ext uri="{BB962C8B-B14F-4D97-AF65-F5344CB8AC3E}">
        <p14:creationId xmlns:p14="http://schemas.microsoft.com/office/powerpoint/2010/main" val="2918454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Connectivity to Buddhist Circuit Locations – Biha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293B588-D3A6-70A6-DA18-59B43F08E3A8}"/>
              </a:ext>
            </a:extLst>
          </p:cNvPr>
          <p:cNvGraphicFramePr>
            <a:graphicFrameLocks noGrp="1"/>
          </p:cNvGraphicFramePr>
          <p:nvPr/>
        </p:nvGraphicFramePr>
        <p:xfrm>
          <a:off x="622894" y="1044387"/>
          <a:ext cx="11182113" cy="448310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468503">
                  <a:extLst>
                    <a:ext uri="{9D8B030D-6E8A-4147-A177-3AD203B41FA5}">
                      <a16:colId xmlns:a16="http://schemas.microsoft.com/office/drawing/2014/main" val="3135303598"/>
                    </a:ext>
                  </a:extLst>
                </a:gridCol>
                <a:gridCol w="4116839">
                  <a:extLst>
                    <a:ext uri="{9D8B030D-6E8A-4147-A177-3AD203B41FA5}">
                      <a16:colId xmlns:a16="http://schemas.microsoft.com/office/drawing/2014/main" val="1746647890"/>
                    </a:ext>
                  </a:extLst>
                </a:gridCol>
                <a:gridCol w="4309891">
                  <a:extLst>
                    <a:ext uri="{9D8B030D-6E8A-4147-A177-3AD203B41FA5}">
                      <a16:colId xmlns:a16="http://schemas.microsoft.com/office/drawing/2014/main" val="893452745"/>
                    </a:ext>
                  </a:extLst>
                </a:gridCol>
                <a:gridCol w="2286880">
                  <a:extLst>
                    <a:ext uri="{9D8B030D-6E8A-4147-A177-3AD203B41FA5}">
                      <a16:colId xmlns:a16="http://schemas.microsoft.com/office/drawing/2014/main" val="3471262466"/>
                    </a:ext>
                  </a:extLst>
                </a:gridCol>
              </a:tblGrid>
              <a:tr h="34002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Action Poi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Current Status</a:t>
                      </a:r>
                      <a:endParaRPr lang="en-US" sz="14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500"/>
                        <a:t>Timeli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454328"/>
                  </a:ext>
                </a:extLst>
              </a:tr>
              <a:tr h="340022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solidFill>
                            <a:schemeClr val="tx1"/>
                          </a:solidFill>
                        </a:rPr>
                        <a:t>Projects executed through </a:t>
                      </a:r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oads W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5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543295"/>
                  </a:ext>
                </a:extLst>
              </a:tr>
              <a:tr h="77719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NH 82 (Gaya-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Hisua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Rajgir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-Nalanda-Bihar Sharif) </a:t>
                      </a:r>
                      <a:endParaRPr lang="en-US" sz="16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6838" indent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er Implementation</a:t>
                      </a:r>
                    </a:p>
                    <a:p>
                      <a:pPr marL="96838" indent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hysical progress – 79.33%</a:t>
                      </a:r>
                    </a:p>
                    <a:p>
                      <a:pPr marL="96838" indent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nancial Progress – 77.59%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4822003"/>
                  </a:ext>
                </a:extLst>
              </a:tr>
              <a:tr h="735742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Projects execute through </a:t>
                      </a:r>
                      <a:r>
                        <a:rPr lang="en-US" sz="1600" b="1">
                          <a:solidFill>
                            <a:schemeClr val="tx1"/>
                          </a:solidFill>
                        </a:rPr>
                        <a:t>National Highways Authority in India</a:t>
                      </a:r>
                      <a:endParaRPr lang="en-US" sz="16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9113701"/>
                  </a:ext>
                </a:extLst>
              </a:tr>
              <a:tr h="518129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NH 83 (Patna-Gaya-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Dobhi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1: Under Implementation with </a:t>
                      </a: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54%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06.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247765"/>
                  </a:ext>
                </a:extLst>
              </a:tr>
              <a:tr h="518129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2: Under Implementation with </a:t>
                      </a: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67%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.06.2023</a:t>
                      </a:r>
                      <a:endParaRPr lang="en-US" sz="1600" kern="1200" noProof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9963155"/>
                  </a:ext>
                </a:extLst>
              </a:tr>
              <a:tr h="518129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en-US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ckage 3: Under Implementation with </a:t>
                      </a:r>
                      <a:r>
                        <a:rPr kumimoji="0" lang="en-US" sz="160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68%</a:t>
                      </a:r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hysical progres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30.06.2023</a:t>
                      </a:r>
                      <a:endParaRPr lang="en-US" sz="1600" kern="1200" noProof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187246"/>
                  </a:ext>
                </a:extLst>
              </a:tr>
              <a:tr h="73574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as-Darbhanga Spur to Bodhgaya via Gaya Airport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PR under progress, with expected award date for civil works in FY 23-34</a:t>
                      </a:r>
                      <a:endParaRPr lang="en-US"/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298319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DC8D578-523C-6EAC-0F8B-8FF805F50860}"/>
              </a:ext>
            </a:extLst>
          </p:cNvPr>
          <p:cNvSpPr txBox="1"/>
          <p:nvPr/>
        </p:nvSpPr>
        <p:spPr>
          <a:xfrm>
            <a:off x="561250" y="6577233"/>
            <a:ext cx="14414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900"/>
              <a:t>Status as of Feb ‘23</a:t>
            </a:r>
          </a:p>
        </p:txBody>
      </p:sp>
    </p:spTree>
    <p:extLst>
      <p:ext uri="{BB962C8B-B14F-4D97-AF65-F5344CB8AC3E}">
        <p14:creationId xmlns:p14="http://schemas.microsoft.com/office/powerpoint/2010/main" val="18880911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67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Distribution of 347 WSAs across Greenfield Expressway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9486406"/>
              </p:ext>
            </p:extLst>
          </p:nvPr>
        </p:nvGraphicFramePr>
        <p:xfrm>
          <a:off x="425449" y="1583539"/>
          <a:ext cx="5670551" cy="45415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16448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3511686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342417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41980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Corridor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+mj-lt"/>
                        </a:rPr>
                        <a:t>Ahmedabad – Dholera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+mj-lt"/>
                        </a:rPr>
                        <a:t>Ambala-Kotpuli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j-lt"/>
                        </a:rPr>
                        <a:t>1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  <a:latin typeface="+mj-lt"/>
                        </a:rPr>
                        <a:t>Amritsar - Bathinda – Jamnagar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j-lt"/>
                        </a:rPr>
                        <a:t>3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ngaluru – Chenna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engaluru Ring Roa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ennai – Sale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ittoor – Thatch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lhi – Amritsar – Kat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lhi - Mumbai Expresswa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elhi – Saharanpur – Dehradu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urg Raipur Arang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549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yderabad – Raip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216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yderabad – Vishakhapatn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5453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dore – Hyderaba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8566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anpur – Luckn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560298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9DCBBCB-D40B-ACFA-0B16-6D0C4711F591}"/>
              </a:ext>
            </a:extLst>
          </p:cNvPr>
          <p:cNvSpPr txBox="1"/>
          <p:nvPr/>
        </p:nvSpPr>
        <p:spPr>
          <a:xfrm>
            <a:off x="428536" y="1083897"/>
            <a:ext cx="6362053" cy="34433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r>
              <a:rPr lang="en-SG" b="1" spc="-5">
                <a:solidFill>
                  <a:srgbClr val="3B2082"/>
                </a:solidFill>
                <a:ea typeface="Source Sans Pro" panose="020B0503030403020204" pitchFamily="34" charset="0"/>
              </a:rPr>
              <a:t>No. of Wayside Amenities - Expressways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027263D-F131-0F26-7CEE-266D06926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294056"/>
              </p:ext>
            </p:extLst>
          </p:nvPr>
        </p:nvGraphicFramePr>
        <p:xfrm>
          <a:off x="6433911" y="1583539"/>
          <a:ext cx="5670549" cy="254508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98670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3374001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397878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73558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Corridor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haragpur – Siliguri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ta – Indor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agpur – Vijayawad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ipur – Vishakhapatn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lapur – Kurnoo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rat – Ahmednagar – Solapu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1905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>
                          <a:effectLst/>
                          <a:latin typeface="Trebuchet MS" panose="020B0603020202020204" pitchFamily="34" charset="0"/>
                        </a:rPr>
                        <a:t>Total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7</a:t>
                      </a:r>
                      <a:endParaRPr lang="en-US" sz="18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3375232"/>
                  </a:ext>
                </a:extLst>
              </a:tr>
            </a:tbl>
          </a:graphicData>
        </a:graphic>
      </p:graphicFrame>
      <p:sp>
        <p:nvSpPr>
          <p:cNvPr id="25" name="Action Button: Go Forward or Next 2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E4ED65FE-83BE-7EF5-3B72-887B06C0592B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950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447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347 WSAs across Greenfield Expressway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597702"/>
              </p:ext>
            </p:extLst>
          </p:nvPr>
        </p:nvGraphicFramePr>
        <p:xfrm>
          <a:off x="425449" y="1583539"/>
          <a:ext cx="5670551" cy="42881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16448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3511686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342417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41980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 State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dhr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hattisgar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ujara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ary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mmu &amp; Kashmi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arnatak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dhy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harasht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riss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unja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jastha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549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mil Nad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216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lang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5453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ttar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85665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9DCBBCB-D40B-ACFA-0B16-6D0C4711F591}"/>
              </a:ext>
            </a:extLst>
          </p:cNvPr>
          <p:cNvSpPr txBox="1"/>
          <p:nvPr/>
        </p:nvSpPr>
        <p:spPr>
          <a:xfrm>
            <a:off x="428536" y="1083897"/>
            <a:ext cx="6362053" cy="34433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r>
              <a:rPr lang="en-SG" b="1" spc="-5">
                <a:solidFill>
                  <a:srgbClr val="3B2082"/>
                </a:solidFill>
                <a:ea typeface="Source Sans Pro" panose="020B0503030403020204" pitchFamily="34" charset="0"/>
              </a:rPr>
              <a:t>No. of Wayside Amenities - States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027263D-F131-0F26-7CEE-266D06926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5616051"/>
              </p:ext>
            </p:extLst>
          </p:nvPr>
        </p:nvGraphicFramePr>
        <p:xfrm>
          <a:off x="6433911" y="1583539"/>
          <a:ext cx="5151732" cy="152616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16448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457845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877439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73558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 State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ttarakh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est Beng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2608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>
                          <a:effectLst/>
                          <a:latin typeface="+mj-lt"/>
                        </a:rPr>
                        <a:t>Total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effectLst/>
                          <a:latin typeface="+mj-lt"/>
                        </a:rPr>
                        <a:t>347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</a:tbl>
          </a:graphicData>
        </a:graphic>
      </p:graphicFrame>
      <p:sp>
        <p:nvSpPr>
          <p:cNvPr id="4" name="Action Button: Go Forward or Next 3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A840CBFE-5434-F9CE-AD78-9EBE6FE875E7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3567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159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te-wise Distribution of 246 WSAs across Brownfield NH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F787489-969F-BBB2-C1DE-B907B3340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56108"/>
              </p:ext>
            </p:extLst>
          </p:nvPr>
        </p:nvGraphicFramePr>
        <p:xfrm>
          <a:off x="425449" y="1583539"/>
          <a:ext cx="5670551" cy="42881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16448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3511686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342417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41980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 State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ndhr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ssa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iha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565406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hhattisgar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84757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ujara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88311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ary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22164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Himachal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6649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ammu and Kashmi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09919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harkh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83619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arnatak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64255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eral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549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dhya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692169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harashtr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15453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dish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856650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19DCBBCB-D40B-ACFA-0B16-6D0C4711F591}"/>
              </a:ext>
            </a:extLst>
          </p:cNvPr>
          <p:cNvSpPr txBox="1"/>
          <p:nvPr/>
        </p:nvSpPr>
        <p:spPr>
          <a:xfrm>
            <a:off x="428536" y="1083897"/>
            <a:ext cx="6362053" cy="34433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r>
              <a:rPr lang="en-SG" b="1" spc="-5">
                <a:solidFill>
                  <a:srgbClr val="3B2082"/>
                </a:solidFill>
                <a:ea typeface="Source Sans Pro" panose="020B0503030403020204" pitchFamily="34" charset="0"/>
              </a:rPr>
              <a:t>No. of Wayside Amenities - States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8027263D-F131-0F26-7CEE-266D069260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8170932"/>
              </p:ext>
            </p:extLst>
          </p:nvPr>
        </p:nvGraphicFramePr>
        <p:xfrm>
          <a:off x="6433911" y="1583539"/>
          <a:ext cx="5151732" cy="279298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816448">
                  <a:extLst>
                    <a:ext uri="{9D8B030D-6E8A-4147-A177-3AD203B41FA5}">
                      <a16:colId xmlns:a16="http://schemas.microsoft.com/office/drawing/2014/main" val="3830170531"/>
                    </a:ext>
                  </a:extLst>
                </a:gridCol>
                <a:gridCol w="2457845">
                  <a:extLst>
                    <a:ext uri="{9D8B030D-6E8A-4147-A177-3AD203B41FA5}">
                      <a16:colId xmlns:a16="http://schemas.microsoft.com/office/drawing/2014/main" val="1327150517"/>
                    </a:ext>
                  </a:extLst>
                </a:gridCol>
                <a:gridCol w="1877439">
                  <a:extLst>
                    <a:ext uri="{9D8B030D-6E8A-4147-A177-3AD203B41FA5}">
                      <a16:colId xmlns:a16="http://schemas.microsoft.com/office/drawing/2014/main" val="403654416"/>
                    </a:ext>
                  </a:extLst>
                </a:gridCol>
              </a:tblGrid>
              <a:tr h="73558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. No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ame of  State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. of Wayside Amenities</a:t>
                      </a:r>
                      <a:endParaRPr lang="en-US" sz="1600" b="1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B2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4245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unjab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9414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ajastha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2608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7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amil Nad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09831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8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elangan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59710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9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ttar Pradesh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7997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ttarakh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61103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defTabSz="914400" rtl="0" eaLnBrk="1" fontAlgn="b" latinLnBrk="0" hangingPunct="1">
                        <a:buFont typeface="+mj-lt"/>
                        <a:buNone/>
                      </a:pPr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West Beng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5554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marL="0" indent="0" algn="ctr" fontAlgn="b">
                        <a:buFont typeface="+mj-lt"/>
                        <a:buNone/>
                      </a:pP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>
                          <a:effectLst/>
                          <a:latin typeface="+mj-lt"/>
                        </a:rPr>
                        <a:t>Total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>
                          <a:effectLst/>
                          <a:latin typeface="+mj-lt"/>
                        </a:rPr>
                        <a:t>246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8184787"/>
                  </a:ext>
                </a:extLst>
              </a:tr>
            </a:tbl>
          </a:graphicData>
        </a:graphic>
      </p:graphicFrame>
      <p:sp>
        <p:nvSpPr>
          <p:cNvPr id="7" name="Action Button: Go Forward or Next 6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4674789F-7022-8B03-57A1-042E7A157A51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7848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876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</a:t>
            </a:r>
            <a:r>
              <a:rPr lang="en-US"/>
              <a:t>1/8</a:t>
            </a:r>
            <a:r>
              <a:rPr lang="en-US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00458" y="6394685"/>
            <a:ext cx="1312025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409DD4-75F9-C0B7-83D0-5A58A21E70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2576" y="939808"/>
            <a:ext cx="9066848" cy="5682490"/>
          </a:xfrm>
          <a:prstGeom prst="rect">
            <a:avLst/>
          </a:prstGeom>
        </p:spPr>
      </p:pic>
      <p:sp>
        <p:nvSpPr>
          <p:cNvPr id="5" name="Action Button: Go Forward or Next 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1A51F359-4553-4545-DC5D-2195BDC7012E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8860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</a:t>
            </a:r>
            <a:r>
              <a:rPr lang="en-US"/>
              <a:t>2/8</a:t>
            </a:r>
            <a:r>
              <a:rPr lang="en-US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6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C2FCEBB-1482-57FD-F65B-5DF44C2D4F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14843" y="1008381"/>
            <a:ext cx="8762315" cy="5682962"/>
          </a:xfrm>
          <a:prstGeom prst="rect">
            <a:avLst/>
          </a:prstGeom>
        </p:spPr>
      </p:pic>
      <p:sp>
        <p:nvSpPr>
          <p:cNvPr id="6" name="Action Button: Go Forward or Next 5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8397A010-4326-A2CA-427B-774EF9E42852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5652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43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</a:t>
            </a:r>
            <a:r>
              <a:rPr lang="en-US"/>
              <a:t>3/8</a:t>
            </a:r>
            <a:r>
              <a:rPr lang="en-US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9A6AC8-1406-D768-885A-AC60FE5EB2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3406" y="1017983"/>
            <a:ext cx="8685188" cy="5701002"/>
          </a:xfrm>
          <a:prstGeom prst="rect">
            <a:avLst/>
          </a:prstGeom>
        </p:spPr>
      </p:pic>
      <p:sp>
        <p:nvSpPr>
          <p:cNvPr id="9" name="Action Button: Go Forward or Next 8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5D564388-6DD6-DEBF-C000-A2AB18333F8F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0581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527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4/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0C4402-F20D-B7B1-B26C-B4B86B0AB7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6150" y="1008251"/>
            <a:ext cx="9139701" cy="5701002"/>
          </a:xfrm>
          <a:prstGeom prst="rect">
            <a:avLst/>
          </a:prstGeom>
        </p:spPr>
      </p:pic>
      <p:sp>
        <p:nvSpPr>
          <p:cNvPr id="5" name="Action Button: Go Forward or Next 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90154630-031E-C5DF-1AEE-EA6FB487C502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7545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76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5/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A88C0D-6528-5A5A-B4AB-384F208614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6251" y="986975"/>
            <a:ext cx="8859499" cy="5655372"/>
          </a:xfrm>
          <a:prstGeom prst="rect">
            <a:avLst/>
          </a:prstGeom>
        </p:spPr>
      </p:pic>
      <p:sp>
        <p:nvSpPr>
          <p:cNvPr id="7" name="Action Button: Go Forward or Next 6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0CED9DF5-97CE-6DB7-8E3C-341B781A6862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3527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902A87B-A55E-D284-C4DA-E827E838A2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739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902A87B-A55E-D284-C4DA-E827E838A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8446549-C460-45A3-9AEF-55A9FB0F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362" y="3068305"/>
            <a:ext cx="6705600" cy="1213672"/>
          </a:xfrm>
        </p:spPr>
        <p:txBody>
          <a:bodyPr vert="horz"/>
          <a:lstStyle/>
          <a:p>
            <a:r>
              <a:rPr lang="en-US" sz="2400"/>
              <a:t>Providing Connectivity to Tourist Destinations</a:t>
            </a:r>
            <a:endParaRPr lang="en-GB" sz="24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54C3A7-BEB3-496C-A821-C60C1ED53D7A}"/>
              </a:ext>
            </a:extLst>
          </p:cNvPr>
          <p:cNvGrpSpPr/>
          <p:nvPr/>
        </p:nvGrpSpPr>
        <p:grpSpPr>
          <a:xfrm>
            <a:off x="617704" y="3305809"/>
            <a:ext cx="564164" cy="411882"/>
            <a:chOff x="387933" y="5699374"/>
            <a:chExt cx="768011" cy="47818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322F961-1D38-499C-A540-D40C4213BF5D}"/>
                </a:ext>
              </a:extLst>
            </p:cNvPr>
            <p:cNvSpPr/>
            <p:nvPr/>
          </p:nvSpPr>
          <p:spPr>
            <a:xfrm>
              <a:off x="387933" y="5699374"/>
              <a:ext cx="726239" cy="42878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55561" marR="0" lvl="0" indent="0" algn="l" defTabSz="914377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1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58AE28A-138A-41FE-A89C-8244A86839D8}"/>
                </a:ext>
              </a:extLst>
            </p:cNvPr>
            <p:cNvCxnSpPr>
              <a:cxnSpLocks/>
            </p:cNvCxnSpPr>
            <p:nvPr/>
          </p:nvCxnSpPr>
          <p:spPr>
            <a:xfrm>
              <a:off x="413333" y="6177556"/>
              <a:ext cx="742611" cy="0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033443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8037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6/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AC8EEFF-C1BF-DA24-B6A7-AD816BA8C2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3234" y="998856"/>
            <a:ext cx="8805533" cy="5720129"/>
          </a:xfrm>
          <a:prstGeom prst="rect">
            <a:avLst/>
          </a:prstGeom>
        </p:spPr>
      </p:pic>
      <p:sp>
        <p:nvSpPr>
          <p:cNvPr id="5" name="Action Button: Go Forward or Next 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995FEF2F-16C0-EB57-5403-A84ECCE07DA8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6213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6065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7/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1AF5CD-07ED-41B0-0E79-9074D496C1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2160" y="970157"/>
            <a:ext cx="8684636" cy="5686368"/>
          </a:xfrm>
          <a:prstGeom prst="rect">
            <a:avLst/>
          </a:prstGeom>
        </p:spPr>
      </p:pic>
      <p:sp>
        <p:nvSpPr>
          <p:cNvPr id="8" name="Action Button: Go Forward or Next 7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17FC7EC6-95AE-23B2-BC52-5DF0D4651496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240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597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Awarded Way Side Amenity Sites (8/8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F5DE78-F37C-38E7-2F5C-A4ECE7129C4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202"/>
          <a:stretch/>
        </p:blipFill>
        <p:spPr>
          <a:xfrm>
            <a:off x="590605" y="1048216"/>
            <a:ext cx="10954168" cy="1996069"/>
          </a:xfrm>
          <a:prstGeom prst="rect">
            <a:avLst/>
          </a:prstGeom>
        </p:spPr>
      </p:pic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80DA0F53-2864-A2EC-8622-5A11041BB9C7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3980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64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Operationalized Way Side Amenities (1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3" name="Action Button: Go Forward or Next 2">
            <a:hlinkClick r:id="rId5" action="ppaction://hlinksldjump" highlightClick="1"/>
            <a:extLst>
              <a:ext uri="{FF2B5EF4-FFF2-40B4-BE49-F238E27FC236}">
                <a16:creationId xmlns:a16="http://schemas.microsoft.com/office/drawing/2014/main" id="{6E0896D3-33F2-0A1F-B0F4-88225104D64D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2DC8E3B-AF44-800C-DEEA-097473F098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82"/>
          <a:stretch/>
        </p:blipFill>
        <p:spPr>
          <a:xfrm>
            <a:off x="1397076" y="1048215"/>
            <a:ext cx="9144317" cy="5623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22250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065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Operationalized Way Side Amenities (2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65E53D-8D2A-7095-01D5-862159ADBC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5535" y="1030528"/>
            <a:ext cx="8900930" cy="5661027"/>
          </a:xfrm>
          <a:prstGeom prst="rect">
            <a:avLst/>
          </a:prstGeom>
        </p:spPr>
      </p:pic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25D00262-8FA3-B7CC-E856-A83F56EDA190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8586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08B7F05-A2FC-144D-5C2B-FD1465BD88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42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08B7F05-A2FC-144D-5C2B-FD1465BD88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4AABD6-27A8-55A7-D048-67A5FE8D5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05" y="139015"/>
            <a:ext cx="10185600" cy="518400"/>
          </a:xfrm>
        </p:spPr>
        <p:txBody>
          <a:bodyPr vert="horz"/>
          <a:lstStyle/>
          <a:p>
            <a:r>
              <a:rPr lang="en-US" dirty="0"/>
              <a:t>List of Operationalized Way Side Amenities (3/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9A51A-E62A-4D11-32A2-F1F08F507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5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EC763E-28D4-D572-60B5-C158B37CA54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68"/>
          <a:stretch/>
        </p:blipFill>
        <p:spPr>
          <a:xfrm>
            <a:off x="1120918" y="1012672"/>
            <a:ext cx="10007999" cy="4607543"/>
          </a:xfrm>
          <a:prstGeom prst="rect">
            <a:avLst/>
          </a:prstGeom>
        </p:spPr>
      </p:pic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FB33B9DB-F85C-70CA-52A2-32442069923A}"/>
              </a:ext>
            </a:extLst>
          </p:cNvPr>
          <p:cNvSpPr/>
          <p:nvPr/>
        </p:nvSpPr>
        <p:spPr>
          <a:xfrm rot="10800000">
            <a:off x="11707030" y="504362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50851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5EE31480-FF2A-70C1-A77F-FBF9A13C4A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23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5EE31480-FF2A-70C1-A77F-FBF9A13C4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F394DF5D-7BD5-4AF0-90B3-3618F50AA137}"/>
              </a:ext>
            </a:extLst>
          </p:cNvPr>
          <p:cNvSpPr txBox="1"/>
          <p:nvPr/>
        </p:nvSpPr>
        <p:spPr>
          <a:xfrm>
            <a:off x="96683" y="1067172"/>
            <a:ext cx="3997545" cy="5416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 defTabSz="914400" rtl="0" eaLnBrk="1" fontAlgn="b" latinLnBrk="0" hangingPunct="1"/>
            <a:r>
              <a:rPr lang="en-US" sz="1400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Site Details:</a:t>
            </a:r>
          </a:p>
          <a:p>
            <a:pPr marL="285750" indent="-285750" algn="l" defTabSz="914400" rtl="0" eaLnBrk="1" fontAlgn="b" latinLnBrk="0" hangingPunct="1">
              <a:buFont typeface="Wingdings" panose="05000000000000000000" pitchFamily="2" charset="2"/>
              <a:buChar char="§"/>
            </a:pPr>
            <a:endParaRPr lang="en-US" sz="500" b="1">
              <a:cs typeface="Arial" panose="020B0604020202020204" pitchFamily="34" charset="0"/>
            </a:endParaRPr>
          </a:p>
          <a:p>
            <a:pPr marL="285750" indent="-285750" algn="l" defTabSz="914400" rtl="0" eaLnBrk="1" fontAlgn="b" latinLnBrk="0" hangingPunct="1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Area: 6 Ha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Frontage: 300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Depth:      200 M.</a:t>
            </a:r>
          </a:p>
          <a:p>
            <a:pPr fontAlgn="b"/>
            <a:endParaRPr lang="en-US" sz="500" b="1"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Built-Up Area: 1,135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Food Court: 950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Toilet: 185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b="1"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Site Development Area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Roads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Waterbody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Plaza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Paved Parking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Landscape</a:t>
            </a:r>
            <a:r>
              <a:rPr lang="en-US" sz="1400" b="1">
                <a:cs typeface="Arial" panose="020B0604020202020204" pitchFamily="34" charset="0"/>
              </a:rPr>
              <a:t>	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b="1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Parking Facility Details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ar: 88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Bus: 5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Ambulance: 3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Truck: 25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Trailer: 11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29F2B4-C4AF-4EE4-BC21-57658E44C1E3}"/>
              </a:ext>
            </a:extLst>
          </p:cNvPr>
          <p:cNvGrpSpPr/>
          <p:nvPr/>
        </p:nvGrpSpPr>
        <p:grpSpPr>
          <a:xfrm>
            <a:off x="2733484" y="923992"/>
            <a:ext cx="9121151" cy="5764780"/>
            <a:chOff x="2733484" y="638242"/>
            <a:chExt cx="9121151" cy="576478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5F040D0-B14F-4910-A60C-C265B20105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240" r="5935"/>
            <a:stretch/>
          </p:blipFill>
          <p:spPr>
            <a:xfrm>
              <a:off x="2733484" y="638242"/>
              <a:ext cx="9121151" cy="576478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3F89F59-9BDE-487D-B98C-79C65CBA7510}"/>
                </a:ext>
              </a:extLst>
            </p:cNvPr>
            <p:cNvSpPr/>
            <p:nvPr/>
          </p:nvSpPr>
          <p:spPr>
            <a:xfrm>
              <a:off x="4955764" y="3870802"/>
              <a:ext cx="1236572" cy="51168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AC458DF-9778-43BC-8829-575892F772BB}"/>
                </a:ext>
              </a:extLst>
            </p:cNvPr>
            <p:cNvSpPr/>
            <p:nvPr/>
          </p:nvSpPr>
          <p:spPr>
            <a:xfrm>
              <a:off x="4215853" y="3870802"/>
              <a:ext cx="313507" cy="51168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BB0C76F-D096-4A9B-A37F-912D872853FB}"/>
                </a:ext>
              </a:extLst>
            </p:cNvPr>
            <p:cNvSpPr/>
            <p:nvPr/>
          </p:nvSpPr>
          <p:spPr>
            <a:xfrm>
              <a:off x="3596299" y="3418783"/>
              <a:ext cx="485297" cy="27968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07B10DA-0EED-4F90-B949-925C54808A45}"/>
                </a:ext>
              </a:extLst>
            </p:cNvPr>
            <p:cNvSpPr txBox="1"/>
            <p:nvPr/>
          </p:nvSpPr>
          <p:spPr>
            <a:xfrm>
              <a:off x="4998339" y="3484769"/>
              <a:ext cx="1440487" cy="24285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5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OOD COURT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AE46F3-6CAF-4F93-BC6D-C1278CAB5775}"/>
                </a:ext>
              </a:extLst>
            </p:cNvPr>
            <p:cNvSpPr txBox="1"/>
            <p:nvPr/>
          </p:nvSpPr>
          <p:spPr>
            <a:xfrm>
              <a:off x="9668185" y="5449490"/>
              <a:ext cx="1375736" cy="24285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UEL STATION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6C3D5C4-4129-41B4-AB5F-8BEE64B500E9}"/>
                </a:ext>
              </a:extLst>
            </p:cNvPr>
            <p:cNvSpPr txBox="1"/>
            <p:nvPr/>
          </p:nvSpPr>
          <p:spPr>
            <a:xfrm>
              <a:off x="10424007" y="3454349"/>
              <a:ext cx="828193" cy="48823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RAILER PARKING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CC96E5C-B3B9-414C-914A-4AA588D8EF7A}"/>
                </a:ext>
              </a:extLst>
            </p:cNvPr>
            <p:cNvSpPr txBox="1"/>
            <p:nvPr/>
          </p:nvSpPr>
          <p:spPr>
            <a:xfrm>
              <a:off x="6096000" y="5603538"/>
              <a:ext cx="792633" cy="440837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CAR PARKING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66A6F6F-A07C-4013-B7AD-ECADCED98F6D}"/>
                </a:ext>
              </a:extLst>
            </p:cNvPr>
            <p:cNvSpPr txBox="1"/>
            <p:nvPr/>
          </p:nvSpPr>
          <p:spPr>
            <a:xfrm>
              <a:off x="8255000" y="4026597"/>
              <a:ext cx="792633" cy="440837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ARKING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C47722F-EA41-4C63-A902-CF2020EDD090}"/>
                </a:ext>
              </a:extLst>
            </p:cNvPr>
            <p:cNvSpPr txBox="1"/>
            <p:nvPr/>
          </p:nvSpPr>
          <p:spPr>
            <a:xfrm>
              <a:off x="3596299" y="4205170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OILET</a:t>
              </a:r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DEB5758E-E7AB-C771-3BBD-002CA317C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ndard Layout Plans designed for Wayside Amenities – 6 Ha.</a:t>
            </a:r>
          </a:p>
        </p:txBody>
      </p:sp>
      <p:sp>
        <p:nvSpPr>
          <p:cNvPr id="25" name="Action Button: Go Forward or Next 24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08CAE71B-22F7-43D8-62BB-2792E285B689}"/>
              </a:ext>
            </a:extLst>
          </p:cNvPr>
          <p:cNvSpPr/>
          <p:nvPr/>
        </p:nvSpPr>
        <p:spPr>
          <a:xfrm rot="10800000">
            <a:off x="11521440" y="433658"/>
            <a:ext cx="365760" cy="36576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4499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E6BCD38-9DC6-F277-6C50-7ADDE4F17C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160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E6BCD38-9DC6-F277-6C50-7ADDE4F17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248B805D-7BD5-46C7-9852-5FE5448EBAA9}"/>
              </a:ext>
            </a:extLst>
          </p:cNvPr>
          <p:cNvSpPr/>
          <p:nvPr/>
        </p:nvSpPr>
        <p:spPr>
          <a:xfrm>
            <a:off x="10265221" y="3618032"/>
            <a:ext cx="921322" cy="5261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94DF5D-7BD5-4AF0-90B3-3618F50AA137}"/>
              </a:ext>
            </a:extLst>
          </p:cNvPr>
          <p:cNvSpPr txBox="1"/>
          <p:nvPr/>
        </p:nvSpPr>
        <p:spPr>
          <a:xfrm>
            <a:off x="96683" y="1124322"/>
            <a:ext cx="3229966" cy="5201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algn="l" defTabSz="914400" rtl="0" eaLnBrk="1" fontAlgn="b" latinLnBrk="0" hangingPunct="1"/>
            <a:r>
              <a:rPr lang="en-US" sz="1400" b="1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Site Details:</a:t>
            </a:r>
          </a:p>
          <a:p>
            <a:pPr marL="285750" indent="-285750" algn="l" defTabSz="914400" rtl="0" eaLnBrk="1" fontAlgn="b" latinLnBrk="0" hangingPunct="1">
              <a:buFont typeface="Wingdings" panose="05000000000000000000" pitchFamily="2" charset="2"/>
              <a:buChar char="§"/>
            </a:pPr>
            <a:endParaRPr lang="en-US" sz="500" b="1">
              <a:cs typeface="Arial" panose="020B0604020202020204" pitchFamily="34" charset="0"/>
            </a:endParaRPr>
          </a:p>
          <a:p>
            <a:pPr marL="285750" indent="-285750" algn="l" defTabSz="914400" rtl="0" eaLnBrk="1" fontAlgn="b" latinLnBrk="0" hangingPunct="1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Area: 2 Ha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Frontage: 200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Depth:      100 M.</a:t>
            </a:r>
          </a:p>
          <a:p>
            <a:pPr fontAlgn="b"/>
            <a:endParaRPr lang="en-US" sz="500" b="1"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Built-Up Area: 2,989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Food Court: 1223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Dhaba &amp; Retail: 1222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Medical, Admin: 453 Sq. M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b="1"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Site Development Area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Roads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Waterbody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Entrance Plaza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Paved Parking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Landscape</a:t>
            </a:r>
            <a:r>
              <a:rPr lang="en-US" sz="1400" b="1">
                <a:cs typeface="Arial" panose="020B0604020202020204" pitchFamily="34" charset="0"/>
              </a:rPr>
              <a:t>	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b="1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285750" indent="-285750" fontAlgn="b">
              <a:buFont typeface="Wingdings" panose="05000000000000000000" pitchFamily="2" charset="2"/>
              <a:buChar char="§"/>
            </a:pPr>
            <a:r>
              <a:rPr lang="en-US" sz="1400" b="1">
                <a:cs typeface="Arial" panose="020B0604020202020204" pitchFamily="34" charset="0"/>
              </a:rPr>
              <a:t>Parking Facility Details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ar: </a:t>
            </a:r>
            <a:r>
              <a:rPr lang="en-US" sz="1400">
                <a:cs typeface="Arial" panose="020B0604020202020204" pitchFamily="34" charset="0"/>
              </a:rPr>
              <a:t>69</a:t>
            </a: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Bus: 5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r>
              <a:rPr lang="en-US" sz="1400">
                <a:cs typeface="Arial" panose="020B0604020202020204" pitchFamily="34" charset="0"/>
              </a:rPr>
              <a:t>Truck/</a:t>
            </a: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Trailer: </a:t>
            </a:r>
            <a:r>
              <a:rPr lang="en-US" sz="1400">
                <a:cs typeface="Arial" panose="020B0604020202020204" pitchFamily="34" charset="0"/>
              </a:rPr>
              <a:t>9</a:t>
            </a:r>
            <a:r>
              <a:rPr lang="en-US" sz="140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 Nos.</a:t>
            </a: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  <a:p>
            <a:pPr marL="742950" lvl="1" indent="-285750" fontAlgn="b">
              <a:buFont typeface="Wingdings" panose="05000000000000000000" pitchFamily="2" charset="2"/>
              <a:buChar char="§"/>
            </a:pPr>
            <a:endParaRPr lang="en-US" sz="1400" i="0" u="none" strike="noStrike" kern="1200">
              <a:solidFill>
                <a:schemeClr val="tx1"/>
              </a:solidFill>
              <a:effectLst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F72738-C82F-4602-91CF-E5A5FDE93B4E}"/>
              </a:ext>
            </a:extLst>
          </p:cNvPr>
          <p:cNvSpPr txBox="1"/>
          <p:nvPr/>
        </p:nvSpPr>
        <p:spPr>
          <a:xfrm>
            <a:off x="8486628" y="3632058"/>
            <a:ext cx="757450" cy="279683"/>
          </a:xfrm>
          <a:prstGeom prst="rect">
            <a:avLst/>
          </a:prstGeom>
          <a:solidFill>
            <a:schemeClr val="bg2"/>
          </a:solidFill>
          <a:effectLst>
            <a:softEdge rad="12700"/>
          </a:effectLst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OILE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F7FA2E-0DEE-4CA0-918C-8C1106F3D09D}"/>
              </a:ext>
            </a:extLst>
          </p:cNvPr>
          <p:cNvSpPr txBox="1"/>
          <p:nvPr/>
        </p:nvSpPr>
        <p:spPr>
          <a:xfrm>
            <a:off x="7001874" y="3721298"/>
            <a:ext cx="757450" cy="279683"/>
          </a:xfrm>
          <a:prstGeom prst="rect">
            <a:avLst/>
          </a:prstGeom>
          <a:solidFill>
            <a:schemeClr val="bg2"/>
          </a:solidFill>
          <a:effectLst>
            <a:softEdge rad="12700"/>
          </a:effectLst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HAB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FF0DB70-5334-478F-B109-F537E7FC5ADF}"/>
              </a:ext>
            </a:extLst>
          </p:cNvPr>
          <p:cNvSpPr txBox="1"/>
          <p:nvPr/>
        </p:nvSpPr>
        <p:spPr>
          <a:xfrm>
            <a:off x="10388744" y="5714735"/>
            <a:ext cx="921322" cy="382949"/>
          </a:xfrm>
          <a:prstGeom prst="rect">
            <a:avLst/>
          </a:prstGeom>
          <a:solidFill>
            <a:schemeClr val="bg2"/>
          </a:solidFill>
          <a:effectLst>
            <a:softEdge rad="12700"/>
          </a:effectLst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40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UEL STATION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AA436C7-9C16-4593-AAB2-D71FC8E44D68}"/>
              </a:ext>
            </a:extLst>
          </p:cNvPr>
          <p:cNvGrpSpPr/>
          <p:nvPr/>
        </p:nvGrpSpPr>
        <p:grpSpPr>
          <a:xfrm>
            <a:off x="3063240" y="1124322"/>
            <a:ext cx="9128760" cy="5525646"/>
            <a:chOff x="3063240" y="781422"/>
            <a:chExt cx="9128760" cy="552564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414EB97-CA44-4E26-896E-BAE668D190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577" t="7563" r="731"/>
            <a:stretch/>
          </p:blipFill>
          <p:spPr>
            <a:xfrm>
              <a:off x="3063240" y="781422"/>
              <a:ext cx="9128760" cy="5525646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E1D3198-4FDF-4B8A-8932-0440EEB7F668}"/>
                </a:ext>
              </a:extLst>
            </p:cNvPr>
            <p:cNvSpPr/>
            <p:nvPr/>
          </p:nvSpPr>
          <p:spPr>
            <a:xfrm>
              <a:off x="4371685" y="3275132"/>
              <a:ext cx="1861788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4ABB463-EBFC-4D63-8EB3-94425130569D}"/>
                </a:ext>
              </a:extLst>
            </p:cNvPr>
            <p:cNvSpPr/>
            <p:nvPr/>
          </p:nvSpPr>
          <p:spPr>
            <a:xfrm>
              <a:off x="7254614" y="3275132"/>
              <a:ext cx="1216133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814DC42-1CEB-4BA6-A89D-CA0DE645F93A}"/>
                </a:ext>
              </a:extLst>
            </p:cNvPr>
            <p:cNvSpPr txBox="1"/>
            <p:nvPr/>
          </p:nvSpPr>
          <p:spPr>
            <a:xfrm>
              <a:off x="4135314" y="3382134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OILE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B07ED7E-D447-49A2-8E85-7BA4050C284C}"/>
                </a:ext>
              </a:extLst>
            </p:cNvPr>
            <p:cNvSpPr txBox="1"/>
            <p:nvPr/>
          </p:nvSpPr>
          <p:spPr>
            <a:xfrm>
              <a:off x="5230672" y="3382134"/>
              <a:ext cx="757450" cy="419127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FOOD COUR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C201BAA-7000-401E-9AB5-60C1F9EEF8E7}"/>
                </a:ext>
              </a:extLst>
            </p:cNvPr>
            <p:cNvSpPr txBox="1"/>
            <p:nvPr/>
          </p:nvSpPr>
          <p:spPr>
            <a:xfrm>
              <a:off x="7001874" y="3382133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DHABA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4F80835-6044-4078-907C-F035131D34BB}"/>
                </a:ext>
              </a:extLst>
            </p:cNvPr>
            <p:cNvSpPr txBox="1"/>
            <p:nvPr/>
          </p:nvSpPr>
          <p:spPr>
            <a:xfrm>
              <a:off x="10265220" y="3275132"/>
              <a:ext cx="921322" cy="456359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MEDICAL CENTR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EA2BD80-C9D7-427A-97BE-52E26B5E015F}"/>
                </a:ext>
              </a:extLst>
            </p:cNvPr>
            <p:cNvSpPr txBox="1"/>
            <p:nvPr/>
          </p:nvSpPr>
          <p:spPr>
            <a:xfrm>
              <a:off x="7759323" y="4809421"/>
              <a:ext cx="1106029" cy="368971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CHARGING STAT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567AAED-048A-418D-8FAE-DA96FDDC1DE9}"/>
                </a:ext>
              </a:extLst>
            </p:cNvPr>
            <p:cNvSpPr txBox="1"/>
            <p:nvPr/>
          </p:nvSpPr>
          <p:spPr>
            <a:xfrm>
              <a:off x="4989971" y="5170272"/>
              <a:ext cx="1106029" cy="368972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ARKING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23DBCD4-9CC6-4E61-AE6C-4C6CCB85A7D3}"/>
                </a:ext>
              </a:extLst>
            </p:cNvPr>
            <p:cNvSpPr/>
            <p:nvPr/>
          </p:nvSpPr>
          <p:spPr>
            <a:xfrm>
              <a:off x="4371686" y="3275132"/>
              <a:ext cx="1861788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5BDCC8C-BE73-4977-9EDF-7241FF0095D9}"/>
                </a:ext>
              </a:extLst>
            </p:cNvPr>
            <p:cNvSpPr/>
            <p:nvPr/>
          </p:nvSpPr>
          <p:spPr>
            <a:xfrm>
              <a:off x="7254615" y="3275132"/>
              <a:ext cx="1216133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66DA4AC-E7F5-4D3A-B2CE-EBE52C730840}"/>
                </a:ext>
              </a:extLst>
            </p:cNvPr>
            <p:cNvSpPr txBox="1"/>
            <p:nvPr/>
          </p:nvSpPr>
          <p:spPr>
            <a:xfrm>
              <a:off x="4135315" y="3382134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OILET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67CB576-39AE-4D34-B107-95C9D22BB5EF}"/>
                </a:ext>
              </a:extLst>
            </p:cNvPr>
            <p:cNvSpPr txBox="1"/>
            <p:nvPr/>
          </p:nvSpPr>
          <p:spPr>
            <a:xfrm>
              <a:off x="7001875" y="3382133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DHABA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2DDE183-E97C-4A06-8617-F44642BE772A}"/>
                </a:ext>
              </a:extLst>
            </p:cNvPr>
            <p:cNvSpPr txBox="1"/>
            <p:nvPr/>
          </p:nvSpPr>
          <p:spPr>
            <a:xfrm>
              <a:off x="10265221" y="3275132"/>
              <a:ext cx="921322" cy="456359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MEDICAL CENTRE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01AEE3F-3558-4873-A6C0-B39F269C0892}"/>
                </a:ext>
              </a:extLst>
            </p:cNvPr>
            <p:cNvSpPr txBox="1"/>
            <p:nvPr/>
          </p:nvSpPr>
          <p:spPr>
            <a:xfrm>
              <a:off x="7759324" y="4819551"/>
              <a:ext cx="1106029" cy="368971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CHARGING STATIO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EDE5A5F-E6BA-4FFA-8E7A-9A03928F50E6}"/>
                </a:ext>
              </a:extLst>
            </p:cNvPr>
            <p:cNvSpPr txBox="1"/>
            <p:nvPr/>
          </p:nvSpPr>
          <p:spPr>
            <a:xfrm>
              <a:off x="4989972" y="5180402"/>
              <a:ext cx="1106029" cy="368972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PARKING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5683E3F-B79B-4945-8D66-311E1EC8FB83}"/>
                </a:ext>
              </a:extLst>
            </p:cNvPr>
            <p:cNvSpPr/>
            <p:nvPr/>
          </p:nvSpPr>
          <p:spPr>
            <a:xfrm>
              <a:off x="4371687" y="3285262"/>
              <a:ext cx="1861788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4A844F9-967C-49A9-B2C1-0E241F7ECFC6}"/>
                </a:ext>
              </a:extLst>
            </p:cNvPr>
            <p:cNvSpPr/>
            <p:nvPr/>
          </p:nvSpPr>
          <p:spPr>
            <a:xfrm>
              <a:off x="7254616" y="3285262"/>
              <a:ext cx="1216133" cy="7703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US" sz="1500">
                <a:solidFill>
                  <a:schemeClr val="bg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7F30E8B-6AFD-464A-91C5-C43CAFB81716}"/>
                </a:ext>
              </a:extLst>
            </p:cNvPr>
            <p:cNvSpPr txBox="1"/>
            <p:nvPr/>
          </p:nvSpPr>
          <p:spPr>
            <a:xfrm>
              <a:off x="4135316" y="3392264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TOIL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09CDEF3-0133-4857-AD89-DC7F6914A522}"/>
                </a:ext>
              </a:extLst>
            </p:cNvPr>
            <p:cNvSpPr txBox="1"/>
            <p:nvPr/>
          </p:nvSpPr>
          <p:spPr>
            <a:xfrm>
              <a:off x="7001876" y="3392263"/>
              <a:ext cx="757450" cy="279683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DHAB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1D2353B-F1BB-4AEC-92CC-7AE45ABA65D7}"/>
                </a:ext>
              </a:extLst>
            </p:cNvPr>
            <p:cNvSpPr txBox="1"/>
            <p:nvPr/>
          </p:nvSpPr>
          <p:spPr>
            <a:xfrm>
              <a:off x="10265222" y="3285262"/>
              <a:ext cx="921322" cy="456359"/>
            </a:xfrm>
            <a:prstGeom prst="rect">
              <a:avLst/>
            </a:prstGeom>
            <a:solidFill>
              <a:schemeClr val="bg2"/>
            </a:solidFill>
            <a:effectLst>
              <a:softEdge rad="12700"/>
            </a:effectLst>
          </p:spPr>
          <p:txBody>
            <a:bodyPr wrap="square" lIns="54610" tIns="54610" rIns="54610" bIns="54610" rtlCol="0" anchor="ctr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MEDICAL CENTRE</a:t>
              </a: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AE9B30DE-CF8B-A74B-D79F-07B3EA840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Standard Layout Plans designed for Wayside Amenities – 2 Ha.</a:t>
            </a:r>
          </a:p>
        </p:txBody>
      </p:sp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3F6D85DC-CCE6-A13C-3AD3-8BE21A1AB512}"/>
              </a:ext>
            </a:extLst>
          </p:cNvPr>
          <p:cNvSpPr/>
          <p:nvPr/>
        </p:nvSpPr>
        <p:spPr>
          <a:xfrm rot="10800000">
            <a:off x="11521440" y="433658"/>
            <a:ext cx="365760" cy="36576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1971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89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Bidding Parameters for Award/Development of Site</a:t>
            </a:r>
          </a:p>
        </p:txBody>
      </p:sp>
      <p:sp>
        <p:nvSpPr>
          <p:cNvPr id="12" name="Rounded Rectangle 23">
            <a:extLst>
              <a:ext uri="{FF2B5EF4-FFF2-40B4-BE49-F238E27FC236}">
                <a16:creationId xmlns:a16="http://schemas.microsoft.com/office/drawing/2014/main" id="{42781347-4CE6-061C-D0F6-84AAE5F1CE17}"/>
              </a:ext>
            </a:extLst>
          </p:cNvPr>
          <p:cNvSpPr/>
          <p:nvPr/>
        </p:nvSpPr>
        <p:spPr>
          <a:xfrm>
            <a:off x="1685925" y="1126321"/>
            <a:ext cx="8820149" cy="501346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A. Land Parcels on Brownfield National Highways: Area less than 2 Ha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96B6B5-B4D9-FF38-C40F-CED1A3CFBC3F}"/>
              </a:ext>
            </a:extLst>
          </p:cNvPr>
          <p:cNvSpPr txBox="1"/>
          <p:nvPr/>
        </p:nvSpPr>
        <p:spPr>
          <a:xfrm>
            <a:off x="1850818" y="2537745"/>
            <a:ext cx="2984708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Bidding Parameter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CCEA404-6330-F490-43B5-C63F7A66BE55}"/>
              </a:ext>
            </a:extLst>
          </p:cNvPr>
          <p:cNvSpPr/>
          <p:nvPr/>
        </p:nvSpPr>
        <p:spPr>
          <a:xfrm>
            <a:off x="1850817" y="1727109"/>
            <a:ext cx="2984708" cy="779840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Annual Lease Rent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5F3F12-AD87-DC25-ACD2-F314A9192873}"/>
              </a:ext>
            </a:extLst>
          </p:cNvPr>
          <p:cNvSpPr txBox="1"/>
          <p:nvPr/>
        </p:nvSpPr>
        <p:spPr>
          <a:xfrm>
            <a:off x="5253775" y="2544072"/>
            <a:ext cx="4939595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Duration of Lease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62D0760-5D2F-CA80-30F3-08DDB9D516A2}"/>
              </a:ext>
            </a:extLst>
          </p:cNvPr>
          <p:cNvSpPr/>
          <p:nvPr/>
        </p:nvSpPr>
        <p:spPr>
          <a:xfrm>
            <a:off x="5253776" y="1727108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30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Unconstructed Site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001D515-7CC2-96A6-25A3-E346933312DD}"/>
              </a:ext>
            </a:extLst>
          </p:cNvPr>
          <p:cNvSpPr/>
          <p:nvPr/>
        </p:nvSpPr>
        <p:spPr>
          <a:xfrm>
            <a:off x="7750550" y="1727108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15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Constructed Site</a:t>
            </a:r>
          </a:p>
        </p:txBody>
      </p:sp>
      <p:sp>
        <p:nvSpPr>
          <p:cNvPr id="18" name="Rounded Rectangle 23">
            <a:extLst>
              <a:ext uri="{FF2B5EF4-FFF2-40B4-BE49-F238E27FC236}">
                <a16:creationId xmlns:a16="http://schemas.microsoft.com/office/drawing/2014/main" id="{983771C8-C944-6ED3-525A-95D4D6BAFE23}"/>
              </a:ext>
            </a:extLst>
          </p:cNvPr>
          <p:cNvSpPr/>
          <p:nvPr/>
        </p:nvSpPr>
        <p:spPr>
          <a:xfrm>
            <a:off x="1685925" y="2922008"/>
            <a:ext cx="8820149" cy="501346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B. Land Parcels on Brownfield National Highways: Area more than 2 Ha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412E11-FB04-AA3A-8E45-BD5BFA778963}"/>
              </a:ext>
            </a:extLst>
          </p:cNvPr>
          <p:cNvSpPr txBox="1"/>
          <p:nvPr/>
        </p:nvSpPr>
        <p:spPr>
          <a:xfrm>
            <a:off x="1850818" y="4333432"/>
            <a:ext cx="2984708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Bidding Parameter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65D812C-D0FB-CBFB-F7C5-3247B5761167}"/>
              </a:ext>
            </a:extLst>
          </p:cNvPr>
          <p:cNvSpPr/>
          <p:nvPr/>
        </p:nvSpPr>
        <p:spPr>
          <a:xfrm>
            <a:off x="1850817" y="3522796"/>
            <a:ext cx="2984708" cy="779840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Annual Lease Rental + </a:t>
            </a:r>
            <a:r>
              <a:rPr lang="en-US" sz="2000" b="1">
                <a:solidFill>
                  <a:schemeClr val="bg1"/>
                </a:solidFill>
              </a:rPr>
              <a:t>Revenue Sharing %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7E351C8-A5E0-8C69-F945-9D1057E4B78D}"/>
              </a:ext>
            </a:extLst>
          </p:cNvPr>
          <p:cNvSpPr txBox="1"/>
          <p:nvPr/>
        </p:nvSpPr>
        <p:spPr>
          <a:xfrm>
            <a:off x="5253775" y="4339759"/>
            <a:ext cx="4939595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Duration of Lease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2F5BF97-725F-57A8-456E-57B48E3D2EEC}"/>
              </a:ext>
            </a:extLst>
          </p:cNvPr>
          <p:cNvSpPr/>
          <p:nvPr/>
        </p:nvSpPr>
        <p:spPr>
          <a:xfrm>
            <a:off x="5253776" y="3522795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30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Unconstructed Site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499A4C8-9A49-BD0F-E1D4-EF2CD1741B1D}"/>
              </a:ext>
            </a:extLst>
          </p:cNvPr>
          <p:cNvSpPr/>
          <p:nvPr/>
        </p:nvSpPr>
        <p:spPr>
          <a:xfrm>
            <a:off x="7750550" y="3522795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15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Constructed Site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262F727E-800B-EF70-988D-B3C6B4882254}"/>
              </a:ext>
            </a:extLst>
          </p:cNvPr>
          <p:cNvSpPr/>
          <p:nvPr/>
        </p:nvSpPr>
        <p:spPr>
          <a:xfrm>
            <a:off x="1685925" y="4717695"/>
            <a:ext cx="8820149" cy="501346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C. Land Parcels on Greenfield Access-controlled Expressway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354CF7C-11BE-8F16-BDD8-38E9DFBBD37D}"/>
              </a:ext>
            </a:extLst>
          </p:cNvPr>
          <p:cNvSpPr txBox="1"/>
          <p:nvPr/>
        </p:nvSpPr>
        <p:spPr>
          <a:xfrm>
            <a:off x="1850818" y="6129119"/>
            <a:ext cx="2984708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Bidding Paramet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DDF64CF-B31A-6029-DFF1-C1CEC1066EA0}"/>
              </a:ext>
            </a:extLst>
          </p:cNvPr>
          <p:cNvSpPr txBox="1"/>
          <p:nvPr/>
        </p:nvSpPr>
        <p:spPr>
          <a:xfrm>
            <a:off x="5253775" y="6135446"/>
            <a:ext cx="4939595" cy="4572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SG" sz="1400" spc="-5">
                <a:ea typeface="Source Sans Pro" panose="020B0503030403020204" pitchFamily="34" charset="0"/>
              </a:rPr>
              <a:t>Duration of Leas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B461EB2-99C2-C644-879D-45E97ACA0135}"/>
              </a:ext>
            </a:extLst>
          </p:cNvPr>
          <p:cNvSpPr/>
          <p:nvPr/>
        </p:nvSpPr>
        <p:spPr>
          <a:xfrm>
            <a:off x="5253776" y="5318482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30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Unconstructed Site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72F871CA-6691-15AF-D74D-47B89340414A}"/>
              </a:ext>
            </a:extLst>
          </p:cNvPr>
          <p:cNvSpPr/>
          <p:nvPr/>
        </p:nvSpPr>
        <p:spPr>
          <a:xfrm>
            <a:off x="7750550" y="5318482"/>
            <a:ext cx="2442820" cy="77984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15 Year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Constructed Site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127DE51-F92F-E62F-22A1-30F0A83E6CA5}"/>
              </a:ext>
            </a:extLst>
          </p:cNvPr>
          <p:cNvSpPr/>
          <p:nvPr/>
        </p:nvSpPr>
        <p:spPr>
          <a:xfrm>
            <a:off x="1850817" y="5284160"/>
            <a:ext cx="2984708" cy="779840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>
                <a:solidFill>
                  <a:schemeClr val="bg1"/>
                </a:solidFill>
              </a:rPr>
              <a:t>Annual Lease Rental + </a:t>
            </a:r>
            <a:r>
              <a:rPr lang="en-US" sz="2000" b="1">
                <a:solidFill>
                  <a:schemeClr val="bg1"/>
                </a:solidFill>
              </a:rPr>
              <a:t>Revenue Sharing %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3" name="Action Button: Go Forward or Next 2">
            <a:hlinkClick r:id="rId6" action="ppaction://hlinksldjump" highlightClick="1"/>
            <a:extLst>
              <a:ext uri="{FF2B5EF4-FFF2-40B4-BE49-F238E27FC236}">
                <a16:creationId xmlns:a16="http://schemas.microsoft.com/office/drawing/2014/main" id="{E4DFD01C-88F4-8CA0-EE64-96373B042D6C}"/>
              </a:ext>
            </a:extLst>
          </p:cNvPr>
          <p:cNvSpPr/>
          <p:nvPr/>
        </p:nvSpPr>
        <p:spPr>
          <a:xfrm rot="10800000">
            <a:off x="11521440" y="433658"/>
            <a:ext cx="365760" cy="365760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8973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238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Projects Completed/ Being Undertaken by MoRT&amp;H in 50 tourist destinations (Phase – 1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B6577F3-9D64-5605-174C-683640E096D4}"/>
              </a:ext>
            </a:extLst>
          </p:cNvPr>
          <p:cNvSpPr/>
          <p:nvPr/>
        </p:nvSpPr>
        <p:spPr>
          <a:xfrm>
            <a:off x="4727046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5,447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70B98CE-3DA3-0791-5355-FA7CD4F77DDA}"/>
              </a:ext>
            </a:extLst>
          </p:cNvPr>
          <p:cNvSpPr/>
          <p:nvPr/>
        </p:nvSpPr>
        <p:spPr>
          <a:xfrm>
            <a:off x="7285567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35,447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E09E157-33CE-ABB0-1B88-304E63D584FC}"/>
              </a:ext>
            </a:extLst>
          </p:cNvPr>
          <p:cNvSpPr/>
          <p:nvPr/>
        </p:nvSpPr>
        <p:spPr>
          <a:xfrm>
            <a:off x="9844089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23,459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87C1461-6F7C-BB75-DB40-C1A861BC26E4}"/>
              </a:ext>
            </a:extLst>
          </p:cNvPr>
          <p:cNvSpPr/>
          <p:nvPr/>
        </p:nvSpPr>
        <p:spPr>
          <a:xfrm>
            <a:off x="4727046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,209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5A5F1E8-0420-9B3F-091D-CF98F5509DA1}"/>
              </a:ext>
            </a:extLst>
          </p:cNvPr>
          <p:cNvSpPr/>
          <p:nvPr/>
        </p:nvSpPr>
        <p:spPr>
          <a:xfrm>
            <a:off x="7285567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980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E165180-ADDC-00C0-D2B7-6D1BBDAA6C77}"/>
              </a:ext>
            </a:extLst>
          </p:cNvPr>
          <p:cNvSpPr/>
          <p:nvPr/>
        </p:nvSpPr>
        <p:spPr>
          <a:xfrm>
            <a:off x="9844089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9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AD4D8-07F5-AAA6-B887-2C812BD81C6D}"/>
              </a:ext>
            </a:extLst>
          </p:cNvPr>
          <p:cNvSpPr txBox="1"/>
          <p:nvPr/>
        </p:nvSpPr>
        <p:spPr>
          <a:xfrm>
            <a:off x="304603" y="1155069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/>
              <a:t>Length </a:t>
            </a:r>
            <a:r>
              <a:rPr lang="en-US" i="1"/>
              <a:t>(km)&gt;&gt;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C4F4DDE-92AF-8666-FEBF-248D8661016F}"/>
              </a:ext>
            </a:extLst>
          </p:cNvPr>
          <p:cNvSpPr/>
          <p:nvPr/>
        </p:nvSpPr>
        <p:spPr>
          <a:xfrm>
            <a:off x="2168525" y="1620902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74,35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19FA592-0BB9-BF73-403B-D13DC1FC464D}"/>
              </a:ext>
            </a:extLst>
          </p:cNvPr>
          <p:cNvSpPr/>
          <p:nvPr/>
        </p:nvSpPr>
        <p:spPr>
          <a:xfrm>
            <a:off x="2168525" y="1116817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3,11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C6B8C6-B866-6B89-B9BF-E5281995E6FF}"/>
              </a:ext>
            </a:extLst>
          </p:cNvPr>
          <p:cNvSpPr txBox="1"/>
          <p:nvPr/>
        </p:nvSpPr>
        <p:spPr>
          <a:xfrm>
            <a:off x="108011" y="1664836"/>
            <a:ext cx="1945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/>
              <a:t>Cost </a:t>
            </a:r>
            <a:r>
              <a:rPr lang="en-US" i="1"/>
              <a:t>(INR Cr.)&gt;&gt;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3BA1A-E701-9F5E-F331-26E5D5EE798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540125" y="2547938"/>
            <a:ext cx="1160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865DD8B-E82B-3858-C6BA-A89A633662E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763000" y="4537075"/>
            <a:ext cx="1158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5CA64DE-D5D9-EDA0-A8F7-0332AA3029E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151563" y="3529013"/>
            <a:ext cx="1160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665D251B-4A68-970D-0311-4399599DA1EB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5791781"/>
              </p:ext>
            </p:extLst>
          </p:nvPr>
        </p:nvGraphicFramePr>
        <p:xfrm>
          <a:off x="1427163" y="2255838"/>
          <a:ext cx="10609262" cy="3092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3" name="Text Placeholder 19">
            <a:extLst>
              <a:ext uri="{FF2B5EF4-FFF2-40B4-BE49-F238E27FC236}">
                <a16:creationId xmlns:a16="http://schemas.microsoft.com/office/drawing/2014/main" id="{248567AF-DC80-7DFE-0803-82E6AF7596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394575" y="5367338"/>
            <a:ext cx="1285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D648DC-D22C-40C0-A244-2A03C7C21937}" type="datetime'O''ng''o''''i''n''g'' ''''P''roj''''''''ect''''s''''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ngoing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4BCE2293-90B7-FB5F-C5F0-A90E9E5A696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68488" y="5367338"/>
            <a:ext cx="18923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DA7C40-040E-4254-BE77-BCF9247B7AB2}" type="datetime'''Total Projects ''Co''nn''ecting to Tourist Destina''''tions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 Projects Connecting to Tourist Destination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41" name="Text Placeholder 19">
            <a:extLst>
              <a:ext uri="{FF2B5EF4-FFF2-40B4-BE49-F238E27FC236}">
                <a16:creationId xmlns:a16="http://schemas.microsoft.com/office/drawing/2014/main" id="{8C06E759-71F8-600C-2DE9-C17F0B53AD9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653588" y="5367338"/>
            <a:ext cx="1989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E9BD12-2C1D-41B5-BAAA-0DB58C936470}" type="datetime'''B''''a''l''anc''e for ''''A''w''ard ''P''ro''''jec''''ts''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lance for Award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DEEC3411-D3E0-32F3-EAEF-E8B8CF062E9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705350" y="5367338"/>
            <a:ext cx="1443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7EBB87-6557-49BB-905D-5E6BC572DE0E}" type="datetime'''C''o''m''''''''pl''ete''d'' ''P''''roj''''e''c''''ts''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mpleted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399F095-C266-5FF8-46E4-8960411BA14F}"/>
              </a:ext>
            </a:extLst>
          </p:cNvPr>
          <p:cNvSpPr txBox="1"/>
          <p:nvPr/>
        </p:nvSpPr>
        <p:spPr>
          <a:xfrm>
            <a:off x="7285567" y="6347046"/>
            <a:ext cx="18854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State-wise Projects: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A313122-F125-EF17-D932-9C81223F02AF}"/>
              </a:ext>
            </a:extLst>
          </p:cNvPr>
          <p:cNvSpPr txBox="1"/>
          <p:nvPr/>
        </p:nvSpPr>
        <p:spPr>
          <a:xfrm>
            <a:off x="9553603" y="6347050"/>
            <a:ext cx="18416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M/o Tourism Letter:</a:t>
            </a:r>
          </a:p>
        </p:txBody>
      </p:sp>
      <p:sp>
        <p:nvSpPr>
          <p:cNvPr id="49" name="Action Button: Go Forward or Next 48">
            <a:hlinkClick r:id="rId15" action="ppaction://hlinksldjump" highlightClick="1"/>
            <a:extLst>
              <a:ext uri="{FF2B5EF4-FFF2-40B4-BE49-F238E27FC236}">
                <a16:creationId xmlns:a16="http://schemas.microsoft.com/office/drawing/2014/main" id="{89233182-1DE9-1306-EB84-B437C4A5FE39}"/>
              </a:ext>
            </a:extLst>
          </p:cNvPr>
          <p:cNvSpPr/>
          <p:nvPr/>
        </p:nvSpPr>
        <p:spPr>
          <a:xfrm>
            <a:off x="11398498" y="6314463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ction Button: Go Forward or Next 49">
            <a:hlinkClick r:id="rId16" action="ppaction://hlinksldjump" highlightClick="1"/>
            <a:extLst>
              <a:ext uri="{FF2B5EF4-FFF2-40B4-BE49-F238E27FC236}">
                <a16:creationId xmlns:a16="http://schemas.microsoft.com/office/drawing/2014/main" id="{FD6BD737-5841-FA6E-E198-07BA22F0E73A}"/>
              </a:ext>
            </a:extLst>
          </p:cNvPr>
          <p:cNvSpPr/>
          <p:nvPr/>
        </p:nvSpPr>
        <p:spPr>
          <a:xfrm>
            <a:off x="9169322" y="6314463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193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21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Projects Completed/ Being Undertaken by MoRT&amp;H in 50 tourist destinations (Phase – 2)</a:t>
            </a:r>
          </a:p>
        </p:txBody>
      </p: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34A3DF94-D2C2-9B7A-6AF6-A600B27DF0EA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8763000" y="4627563"/>
            <a:ext cx="11588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653E9CD-A5BF-4B3C-8D3F-BAD494C20CC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151563" y="3352800"/>
            <a:ext cx="1160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195BDEF-F7BD-426C-B763-7548C97F7FAC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540125" y="2547938"/>
            <a:ext cx="11604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691C5DB2-42FD-5F5B-9910-E26DC5BD480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41886090"/>
              </p:ext>
            </p:extLst>
          </p:nvPr>
        </p:nvGraphicFramePr>
        <p:xfrm>
          <a:off x="1427163" y="2255838"/>
          <a:ext cx="10609262" cy="3092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89" name="Text Placeholder 19">
            <a:extLst>
              <a:ext uri="{FF2B5EF4-FFF2-40B4-BE49-F238E27FC236}">
                <a16:creationId xmlns:a16="http://schemas.microsoft.com/office/drawing/2014/main" id="{A7317AB4-BBF7-BFC0-17CA-CBA1F8298CC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653588" y="5367338"/>
            <a:ext cx="1989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D1CB3-CC6A-483D-8065-A9ADFD4C0E39}" type="datetime'''''Balan''ce fo''''''''''r'''' ''Aw''ard ''Pro''je''c''t''s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alance for Award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35" name="Text Placeholder 19">
            <a:extLst>
              <a:ext uri="{FF2B5EF4-FFF2-40B4-BE49-F238E27FC236}">
                <a16:creationId xmlns:a16="http://schemas.microsoft.com/office/drawing/2014/main" id="{B1C51C15-5C08-4B66-890C-6F8D3568B95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705350" y="5367338"/>
            <a:ext cx="1443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C4F66-ED50-4287-B61F-32076804B0C9}" type="datetime'''''''''Co''m''''pl''''''et''''e''d'' ''Pr''oje''''ct''''s''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mpleted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34" name="Text Placeholder 19">
            <a:extLst>
              <a:ext uri="{FF2B5EF4-FFF2-40B4-BE49-F238E27FC236}">
                <a16:creationId xmlns:a16="http://schemas.microsoft.com/office/drawing/2014/main" id="{FCBF54EB-50C3-4430-9E83-781421C5854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394575" y="5367338"/>
            <a:ext cx="12858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2BD32-3CB6-4E1C-85A2-F2BFE5A661D4}" type="datetime'O''''''''''n''''''go''''in''g Pro''je''''cts'''''">
              <a:rPr lang="en-US" altLang="en-US" sz="1200" b="1" smtClean="0"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ngoing Project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1AA01A00-0986-4352-8CFA-2FBE1DB1803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68488" y="5367338"/>
            <a:ext cx="18923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lang="en-US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lang="en-GB" sz="1600" kern="1200" baseline="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20A8D1-2049-4F20-8BA7-201596614E58}" type="datetime'Total P''rojects Conne''ctin''g'' to Tourist Destina''tions'">
              <a:rPr lang="en-US" altLang="en-US" sz="1200" b="1" smtClean="0">
                <a:latin typeface="+mn-lt"/>
                <a:cs typeface="+mn-cs"/>
              </a:rPr>
              <a:pPr/>
              <a:t>Total Projects Connecting to Tourist Destinations</a:t>
            </a:fld>
            <a:endParaRPr lang="en-US" sz="1200" b="1">
              <a:latin typeface="+mn-lt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B6577F3-9D64-5605-174C-683640E096D4}"/>
              </a:ext>
            </a:extLst>
          </p:cNvPr>
          <p:cNvSpPr/>
          <p:nvPr/>
        </p:nvSpPr>
        <p:spPr>
          <a:xfrm>
            <a:off x="4727046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8,163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70B98CE-3DA3-0791-5355-FA7CD4F77DDA}"/>
              </a:ext>
            </a:extLst>
          </p:cNvPr>
          <p:cNvSpPr/>
          <p:nvPr/>
        </p:nvSpPr>
        <p:spPr>
          <a:xfrm>
            <a:off x="7285567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36,129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E09E157-33CE-ABB0-1B88-304E63D584FC}"/>
              </a:ext>
            </a:extLst>
          </p:cNvPr>
          <p:cNvSpPr/>
          <p:nvPr/>
        </p:nvSpPr>
        <p:spPr>
          <a:xfrm>
            <a:off x="9844089" y="1602764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9,561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87C1461-6F7C-BB75-DB40-C1A861BC26E4}"/>
              </a:ext>
            </a:extLst>
          </p:cNvPr>
          <p:cNvSpPr/>
          <p:nvPr/>
        </p:nvSpPr>
        <p:spPr>
          <a:xfrm>
            <a:off x="4727046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,118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5A5F1E8-0420-9B3F-091D-CF98F5509DA1}"/>
              </a:ext>
            </a:extLst>
          </p:cNvPr>
          <p:cNvSpPr/>
          <p:nvPr/>
        </p:nvSpPr>
        <p:spPr>
          <a:xfrm>
            <a:off x="7285567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1,677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E165180-ADDC-00C0-D2B7-6D1BBDAA6C77}"/>
              </a:ext>
            </a:extLst>
          </p:cNvPr>
          <p:cNvSpPr/>
          <p:nvPr/>
        </p:nvSpPr>
        <p:spPr>
          <a:xfrm>
            <a:off x="9844089" y="1098679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93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0AD4D8-07F5-AAA6-B887-2C812BD81C6D}"/>
              </a:ext>
            </a:extLst>
          </p:cNvPr>
          <p:cNvSpPr txBox="1"/>
          <p:nvPr/>
        </p:nvSpPr>
        <p:spPr>
          <a:xfrm>
            <a:off x="304603" y="1155069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/>
              <a:t>Length </a:t>
            </a:r>
            <a:r>
              <a:rPr lang="en-US" i="1"/>
              <a:t>(km)&gt;&gt;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19FA592-0BB9-BF73-403B-D13DC1FC464D}"/>
              </a:ext>
            </a:extLst>
          </p:cNvPr>
          <p:cNvSpPr/>
          <p:nvPr/>
        </p:nvSpPr>
        <p:spPr>
          <a:xfrm>
            <a:off x="2168525" y="1116817"/>
            <a:ext cx="13716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3,727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2C6B8C6-B866-6B89-B9BF-E5281995E6FF}"/>
              </a:ext>
            </a:extLst>
          </p:cNvPr>
          <p:cNvSpPr txBox="1"/>
          <p:nvPr/>
        </p:nvSpPr>
        <p:spPr>
          <a:xfrm>
            <a:off x="108011" y="1664836"/>
            <a:ext cx="1945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/>
              <a:t>Cost </a:t>
            </a:r>
            <a:r>
              <a:rPr lang="en-US" i="1"/>
              <a:t>(INR Cr.)&gt;&gt;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B6ED76-EEB7-BC41-85FB-E8BFF9DB2829}"/>
              </a:ext>
            </a:extLst>
          </p:cNvPr>
          <p:cNvSpPr/>
          <p:nvPr/>
        </p:nvSpPr>
        <p:spPr>
          <a:xfrm>
            <a:off x="2168525" y="1620902"/>
            <a:ext cx="13716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/>
              <a:t>63,85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BCDB9DD-9D82-3B10-5998-F6E94CF6E5C6}"/>
              </a:ext>
            </a:extLst>
          </p:cNvPr>
          <p:cNvSpPr txBox="1"/>
          <p:nvPr/>
        </p:nvSpPr>
        <p:spPr>
          <a:xfrm>
            <a:off x="7285567" y="6347046"/>
            <a:ext cx="18854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State-wise Projects: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54E852B-7A09-9232-CBCD-44C864F90834}"/>
              </a:ext>
            </a:extLst>
          </p:cNvPr>
          <p:cNvSpPr txBox="1"/>
          <p:nvPr/>
        </p:nvSpPr>
        <p:spPr>
          <a:xfrm>
            <a:off x="9553603" y="6347050"/>
            <a:ext cx="18416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b="1">
                <a:solidFill>
                  <a:schemeClr val="accent1"/>
                </a:solidFill>
              </a:rPr>
              <a:t>M/o Tourism Letter:</a:t>
            </a:r>
          </a:p>
        </p:txBody>
      </p:sp>
      <p:sp>
        <p:nvSpPr>
          <p:cNvPr id="46" name="Action Button: Go Forward or Next 45">
            <a:hlinkClick r:id="rId15" action="ppaction://hlinksldjump" highlightClick="1"/>
            <a:extLst>
              <a:ext uri="{FF2B5EF4-FFF2-40B4-BE49-F238E27FC236}">
                <a16:creationId xmlns:a16="http://schemas.microsoft.com/office/drawing/2014/main" id="{5F3E1FB9-2369-D0F9-7C13-7D6F5639161C}"/>
              </a:ext>
            </a:extLst>
          </p:cNvPr>
          <p:cNvSpPr/>
          <p:nvPr/>
        </p:nvSpPr>
        <p:spPr>
          <a:xfrm>
            <a:off x="11398498" y="6314463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Action Button: Go Forward or Next 47">
            <a:hlinkClick r:id="rId16" action="ppaction://hlinksldjump" highlightClick="1"/>
            <a:extLst>
              <a:ext uri="{FF2B5EF4-FFF2-40B4-BE49-F238E27FC236}">
                <a16:creationId xmlns:a16="http://schemas.microsoft.com/office/drawing/2014/main" id="{DFD99C14-10EC-DA99-0DB7-C8EA28F16F08}"/>
              </a:ext>
            </a:extLst>
          </p:cNvPr>
          <p:cNvSpPr/>
          <p:nvPr/>
        </p:nvSpPr>
        <p:spPr>
          <a:xfrm>
            <a:off x="9169322" y="6314463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16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7FFA5AA-25A3-CB62-FCCE-B4E77BB648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7FFA5AA-25A3-CB62-FCCE-B4E77BB648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FC49DD-E44D-A2A7-7EAB-2D8BA8E58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F16F09A-CCC0-2D71-7471-C1F369142CB0}"/>
              </a:ext>
            </a:extLst>
          </p:cNvPr>
          <p:cNvSpPr txBox="1">
            <a:spLocks/>
          </p:cNvSpPr>
          <p:nvPr/>
        </p:nvSpPr>
        <p:spPr>
          <a:xfrm>
            <a:off x="622894" y="111301"/>
            <a:ext cx="11081426" cy="78612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CA" sz="2000" b="1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Sample projects of MoRT&amp;H providing connectivity to major tourist destinations</a:t>
            </a:r>
          </a:p>
        </p:txBody>
      </p:sp>
      <p:sp>
        <p:nvSpPr>
          <p:cNvPr id="2" name="Freeform 113">
            <a:extLst>
              <a:ext uri="{FF2B5EF4-FFF2-40B4-BE49-F238E27FC236}">
                <a16:creationId xmlns:a16="http://schemas.microsoft.com/office/drawing/2014/main" id="{1C9E1023-3E9D-EF92-A72A-60BE888CAD5F}"/>
              </a:ext>
            </a:extLst>
          </p:cNvPr>
          <p:cNvSpPr>
            <a:spLocks/>
          </p:cNvSpPr>
          <p:nvPr/>
        </p:nvSpPr>
        <p:spPr bwMode="auto">
          <a:xfrm>
            <a:off x="4604642" y="1720651"/>
            <a:ext cx="3341250" cy="3416697"/>
          </a:xfrm>
          <a:custGeom>
            <a:avLst/>
            <a:gdLst>
              <a:gd name="T0" fmla="*/ 827 w 2202"/>
              <a:gd name="T1" fmla="*/ 441 h 2251"/>
              <a:gd name="T2" fmla="*/ 799 w 2202"/>
              <a:gd name="T3" fmla="*/ 350 h 2251"/>
              <a:gd name="T4" fmla="*/ 853 w 2202"/>
              <a:gd name="T5" fmla="*/ 231 h 2251"/>
              <a:gd name="T6" fmla="*/ 837 w 2202"/>
              <a:gd name="T7" fmla="*/ 86 h 2251"/>
              <a:gd name="T8" fmla="*/ 611 w 2202"/>
              <a:gd name="T9" fmla="*/ 97 h 2251"/>
              <a:gd name="T10" fmla="*/ 527 w 2202"/>
              <a:gd name="T11" fmla="*/ 9 h 2251"/>
              <a:gd name="T12" fmla="*/ 366 w 2202"/>
              <a:gd name="T13" fmla="*/ 32 h 2251"/>
              <a:gd name="T14" fmla="*/ 423 w 2202"/>
              <a:gd name="T15" fmla="*/ 145 h 2251"/>
              <a:gd name="T16" fmla="*/ 406 w 2202"/>
              <a:gd name="T17" fmla="*/ 288 h 2251"/>
              <a:gd name="T18" fmla="*/ 524 w 2202"/>
              <a:gd name="T19" fmla="*/ 363 h 2251"/>
              <a:gd name="T20" fmla="*/ 470 w 2202"/>
              <a:gd name="T21" fmla="*/ 479 h 2251"/>
              <a:gd name="T22" fmla="*/ 187 w 2202"/>
              <a:gd name="T23" fmla="*/ 908 h 2251"/>
              <a:gd name="T24" fmla="*/ 7 w 2202"/>
              <a:gd name="T25" fmla="*/ 1024 h 2251"/>
              <a:gd name="T26" fmla="*/ 18 w 2202"/>
              <a:gd name="T27" fmla="*/ 1054 h 2251"/>
              <a:gd name="T28" fmla="*/ 98 w 2202"/>
              <a:gd name="T29" fmla="*/ 1110 h 2251"/>
              <a:gd name="T30" fmla="*/ 174 w 2202"/>
              <a:gd name="T31" fmla="*/ 1087 h 2251"/>
              <a:gd name="T32" fmla="*/ 78 w 2202"/>
              <a:gd name="T33" fmla="*/ 1151 h 2251"/>
              <a:gd name="T34" fmla="*/ 249 w 2202"/>
              <a:gd name="T35" fmla="*/ 1255 h 2251"/>
              <a:gd name="T36" fmla="*/ 315 w 2202"/>
              <a:gd name="T37" fmla="*/ 1147 h 2251"/>
              <a:gd name="T38" fmla="*/ 340 w 2202"/>
              <a:gd name="T39" fmla="*/ 1173 h 2251"/>
              <a:gd name="T40" fmla="*/ 336 w 2202"/>
              <a:gd name="T41" fmla="*/ 1221 h 2251"/>
              <a:gd name="T42" fmla="*/ 343 w 2202"/>
              <a:gd name="T43" fmla="*/ 1246 h 2251"/>
              <a:gd name="T44" fmla="*/ 341 w 2202"/>
              <a:gd name="T45" fmla="*/ 1321 h 2251"/>
              <a:gd name="T46" fmla="*/ 358 w 2202"/>
              <a:gd name="T47" fmla="*/ 1397 h 2251"/>
              <a:gd name="T48" fmla="*/ 356 w 2202"/>
              <a:gd name="T49" fmla="*/ 1455 h 2251"/>
              <a:gd name="T50" fmla="*/ 382 w 2202"/>
              <a:gd name="T51" fmla="*/ 1538 h 2251"/>
              <a:gd name="T52" fmla="*/ 394 w 2202"/>
              <a:gd name="T53" fmla="*/ 1614 h 2251"/>
              <a:gd name="T54" fmla="*/ 452 w 2202"/>
              <a:gd name="T55" fmla="*/ 1734 h 2251"/>
              <a:gd name="T56" fmla="*/ 572 w 2202"/>
              <a:gd name="T57" fmla="*/ 2006 h 2251"/>
              <a:gd name="T58" fmla="*/ 794 w 2202"/>
              <a:gd name="T59" fmla="*/ 2166 h 2251"/>
              <a:gd name="T60" fmla="*/ 915 w 2202"/>
              <a:gd name="T61" fmla="*/ 1851 h 2251"/>
              <a:gd name="T62" fmla="*/ 1064 w 2202"/>
              <a:gd name="T63" fmla="*/ 1569 h 2251"/>
              <a:gd name="T64" fmla="*/ 1236 w 2202"/>
              <a:gd name="T65" fmla="*/ 1415 h 2251"/>
              <a:gd name="T66" fmla="*/ 1460 w 2202"/>
              <a:gd name="T67" fmla="*/ 1199 h 2251"/>
              <a:gd name="T68" fmla="*/ 1513 w 2202"/>
              <a:gd name="T69" fmla="*/ 1187 h 2251"/>
              <a:gd name="T70" fmla="*/ 1523 w 2202"/>
              <a:gd name="T71" fmla="*/ 1179 h 2251"/>
              <a:gd name="T72" fmla="*/ 1529 w 2202"/>
              <a:gd name="T73" fmla="*/ 1180 h 2251"/>
              <a:gd name="T74" fmla="*/ 1552 w 2202"/>
              <a:gd name="T75" fmla="*/ 1198 h 2251"/>
              <a:gd name="T76" fmla="*/ 1564 w 2202"/>
              <a:gd name="T77" fmla="*/ 1126 h 2251"/>
              <a:gd name="T78" fmla="*/ 1536 w 2202"/>
              <a:gd name="T79" fmla="*/ 1033 h 2251"/>
              <a:gd name="T80" fmla="*/ 1526 w 2202"/>
              <a:gd name="T81" fmla="*/ 924 h 2251"/>
              <a:gd name="T82" fmla="*/ 1505 w 2202"/>
              <a:gd name="T83" fmla="*/ 879 h 2251"/>
              <a:gd name="T84" fmla="*/ 1547 w 2202"/>
              <a:gd name="T85" fmla="*/ 838 h 2251"/>
              <a:gd name="T86" fmla="*/ 1616 w 2202"/>
              <a:gd name="T87" fmla="*/ 854 h 2251"/>
              <a:gd name="T88" fmla="*/ 1758 w 2202"/>
              <a:gd name="T89" fmla="*/ 927 h 2251"/>
              <a:gd name="T90" fmla="*/ 1776 w 2202"/>
              <a:gd name="T91" fmla="*/ 1006 h 2251"/>
              <a:gd name="T92" fmla="*/ 1766 w 2202"/>
              <a:gd name="T93" fmla="*/ 1097 h 2251"/>
              <a:gd name="T94" fmla="*/ 1835 w 2202"/>
              <a:gd name="T95" fmla="*/ 1131 h 2251"/>
              <a:gd name="T96" fmla="*/ 1882 w 2202"/>
              <a:gd name="T97" fmla="*/ 1090 h 2251"/>
              <a:gd name="T98" fmla="*/ 1965 w 2202"/>
              <a:gd name="T99" fmla="*/ 1003 h 2251"/>
              <a:gd name="T100" fmla="*/ 2080 w 2202"/>
              <a:gd name="T101" fmla="*/ 784 h 2251"/>
              <a:gd name="T102" fmla="*/ 2195 w 2202"/>
              <a:gd name="T103" fmla="*/ 715 h 2251"/>
              <a:gd name="T104" fmla="*/ 2127 w 2202"/>
              <a:gd name="T105" fmla="*/ 662 h 2251"/>
              <a:gd name="T106" fmla="*/ 2075 w 2202"/>
              <a:gd name="T107" fmla="*/ 611 h 2251"/>
              <a:gd name="T108" fmla="*/ 1948 w 2202"/>
              <a:gd name="T109" fmla="*/ 631 h 2251"/>
              <a:gd name="T110" fmla="*/ 1815 w 2202"/>
              <a:gd name="T111" fmla="*/ 716 h 2251"/>
              <a:gd name="T112" fmla="*/ 1693 w 2202"/>
              <a:gd name="T113" fmla="*/ 801 h 2251"/>
              <a:gd name="T114" fmla="*/ 1553 w 2202"/>
              <a:gd name="T115" fmla="*/ 753 h 2251"/>
              <a:gd name="T116" fmla="*/ 1495 w 2202"/>
              <a:gd name="T117" fmla="*/ 765 h 2251"/>
              <a:gd name="T118" fmla="*/ 1410 w 2202"/>
              <a:gd name="T119" fmla="*/ 823 h 2251"/>
              <a:gd name="T120" fmla="*/ 1241 w 2202"/>
              <a:gd name="T121" fmla="*/ 781 h 2251"/>
              <a:gd name="T122" fmla="*/ 1035 w 2202"/>
              <a:gd name="T123" fmla="*/ 717 h 2251"/>
              <a:gd name="T124" fmla="*/ 904 w 2202"/>
              <a:gd name="T125" fmla="*/ 619 h 2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02" h="2251">
                <a:moveTo>
                  <a:pt x="959" y="535"/>
                </a:moveTo>
                <a:cubicBezTo>
                  <a:pt x="961" y="537"/>
                  <a:pt x="965" y="538"/>
                  <a:pt x="970" y="535"/>
                </a:cubicBezTo>
                <a:cubicBezTo>
                  <a:pt x="964" y="531"/>
                  <a:pt x="957" y="527"/>
                  <a:pt x="950" y="524"/>
                </a:cubicBezTo>
                <a:cubicBezTo>
                  <a:pt x="946" y="520"/>
                  <a:pt x="946" y="520"/>
                  <a:pt x="946" y="520"/>
                </a:cubicBezTo>
                <a:cubicBezTo>
                  <a:pt x="940" y="517"/>
                  <a:pt x="940" y="517"/>
                  <a:pt x="940" y="517"/>
                </a:cubicBezTo>
                <a:cubicBezTo>
                  <a:pt x="938" y="515"/>
                  <a:pt x="938" y="515"/>
                  <a:pt x="938" y="515"/>
                </a:cubicBezTo>
                <a:cubicBezTo>
                  <a:pt x="933" y="515"/>
                  <a:pt x="933" y="515"/>
                  <a:pt x="933" y="515"/>
                </a:cubicBezTo>
                <a:cubicBezTo>
                  <a:pt x="932" y="517"/>
                  <a:pt x="932" y="517"/>
                  <a:pt x="932" y="517"/>
                </a:cubicBezTo>
                <a:cubicBezTo>
                  <a:pt x="928" y="516"/>
                  <a:pt x="928" y="516"/>
                  <a:pt x="928" y="516"/>
                </a:cubicBezTo>
                <a:cubicBezTo>
                  <a:pt x="925" y="512"/>
                  <a:pt x="925" y="512"/>
                  <a:pt x="925" y="512"/>
                </a:cubicBezTo>
                <a:cubicBezTo>
                  <a:pt x="908" y="506"/>
                  <a:pt x="908" y="506"/>
                  <a:pt x="908" y="506"/>
                </a:cubicBezTo>
                <a:cubicBezTo>
                  <a:pt x="908" y="506"/>
                  <a:pt x="908" y="506"/>
                  <a:pt x="908" y="506"/>
                </a:cubicBezTo>
                <a:cubicBezTo>
                  <a:pt x="907" y="504"/>
                  <a:pt x="907" y="504"/>
                  <a:pt x="907" y="504"/>
                </a:cubicBezTo>
                <a:cubicBezTo>
                  <a:pt x="906" y="502"/>
                  <a:pt x="906" y="502"/>
                  <a:pt x="906" y="502"/>
                </a:cubicBezTo>
                <a:cubicBezTo>
                  <a:pt x="907" y="501"/>
                  <a:pt x="907" y="501"/>
                  <a:pt x="907" y="501"/>
                </a:cubicBezTo>
                <a:cubicBezTo>
                  <a:pt x="904" y="498"/>
                  <a:pt x="904" y="498"/>
                  <a:pt x="904" y="498"/>
                </a:cubicBezTo>
                <a:cubicBezTo>
                  <a:pt x="907" y="498"/>
                  <a:pt x="907" y="498"/>
                  <a:pt x="907" y="498"/>
                </a:cubicBezTo>
                <a:cubicBezTo>
                  <a:pt x="910" y="495"/>
                  <a:pt x="910" y="495"/>
                  <a:pt x="910" y="495"/>
                </a:cubicBezTo>
                <a:cubicBezTo>
                  <a:pt x="910" y="493"/>
                  <a:pt x="910" y="493"/>
                  <a:pt x="910" y="493"/>
                </a:cubicBezTo>
                <a:cubicBezTo>
                  <a:pt x="904" y="488"/>
                  <a:pt x="904" y="488"/>
                  <a:pt x="904" y="488"/>
                </a:cubicBezTo>
                <a:cubicBezTo>
                  <a:pt x="901" y="489"/>
                  <a:pt x="901" y="489"/>
                  <a:pt x="901" y="489"/>
                </a:cubicBezTo>
                <a:cubicBezTo>
                  <a:pt x="893" y="488"/>
                  <a:pt x="893" y="488"/>
                  <a:pt x="893" y="488"/>
                </a:cubicBezTo>
                <a:cubicBezTo>
                  <a:pt x="888" y="481"/>
                  <a:pt x="888" y="481"/>
                  <a:pt x="888" y="481"/>
                </a:cubicBezTo>
                <a:cubicBezTo>
                  <a:pt x="887" y="481"/>
                  <a:pt x="886" y="482"/>
                  <a:pt x="885" y="482"/>
                </a:cubicBezTo>
                <a:cubicBezTo>
                  <a:pt x="878" y="474"/>
                  <a:pt x="878" y="474"/>
                  <a:pt x="878" y="474"/>
                </a:cubicBezTo>
                <a:cubicBezTo>
                  <a:pt x="874" y="474"/>
                  <a:pt x="874" y="474"/>
                  <a:pt x="874" y="474"/>
                </a:cubicBezTo>
                <a:cubicBezTo>
                  <a:pt x="872" y="473"/>
                  <a:pt x="872" y="473"/>
                  <a:pt x="872" y="473"/>
                </a:cubicBezTo>
                <a:cubicBezTo>
                  <a:pt x="868" y="475"/>
                  <a:pt x="868" y="475"/>
                  <a:pt x="868" y="475"/>
                </a:cubicBezTo>
                <a:cubicBezTo>
                  <a:pt x="866" y="474"/>
                  <a:pt x="866" y="474"/>
                  <a:pt x="866" y="474"/>
                </a:cubicBezTo>
                <a:cubicBezTo>
                  <a:pt x="863" y="477"/>
                  <a:pt x="863" y="477"/>
                  <a:pt x="863" y="477"/>
                </a:cubicBezTo>
                <a:cubicBezTo>
                  <a:pt x="857" y="477"/>
                  <a:pt x="857" y="477"/>
                  <a:pt x="857" y="477"/>
                </a:cubicBezTo>
                <a:cubicBezTo>
                  <a:pt x="857" y="474"/>
                  <a:pt x="857" y="474"/>
                  <a:pt x="857" y="474"/>
                </a:cubicBezTo>
                <a:cubicBezTo>
                  <a:pt x="852" y="470"/>
                  <a:pt x="852" y="470"/>
                  <a:pt x="852" y="470"/>
                </a:cubicBezTo>
                <a:cubicBezTo>
                  <a:pt x="849" y="471"/>
                  <a:pt x="849" y="471"/>
                  <a:pt x="849" y="471"/>
                </a:cubicBezTo>
                <a:cubicBezTo>
                  <a:pt x="845" y="465"/>
                  <a:pt x="845" y="465"/>
                  <a:pt x="845" y="465"/>
                </a:cubicBezTo>
                <a:cubicBezTo>
                  <a:pt x="845" y="465"/>
                  <a:pt x="845" y="465"/>
                  <a:pt x="845" y="464"/>
                </a:cubicBezTo>
                <a:cubicBezTo>
                  <a:pt x="839" y="463"/>
                  <a:pt x="839" y="463"/>
                  <a:pt x="839" y="463"/>
                </a:cubicBezTo>
                <a:cubicBezTo>
                  <a:pt x="835" y="454"/>
                  <a:pt x="835" y="454"/>
                  <a:pt x="835" y="454"/>
                </a:cubicBezTo>
                <a:cubicBezTo>
                  <a:pt x="832" y="454"/>
                  <a:pt x="832" y="454"/>
                  <a:pt x="832" y="454"/>
                </a:cubicBezTo>
                <a:cubicBezTo>
                  <a:pt x="831" y="449"/>
                  <a:pt x="831" y="449"/>
                  <a:pt x="831" y="449"/>
                </a:cubicBezTo>
                <a:cubicBezTo>
                  <a:pt x="831" y="448"/>
                  <a:pt x="831" y="447"/>
                  <a:pt x="831" y="447"/>
                </a:cubicBezTo>
                <a:cubicBezTo>
                  <a:pt x="828" y="444"/>
                  <a:pt x="828" y="444"/>
                  <a:pt x="828" y="444"/>
                </a:cubicBezTo>
                <a:cubicBezTo>
                  <a:pt x="828" y="443"/>
                  <a:pt x="828" y="442"/>
                  <a:pt x="827" y="441"/>
                </a:cubicBezTo>
                <a:cubicBezTo>
                  <a:pt x="820" y="437"/>
                  <a:pt x="820" y="437"/>
                  <a:pt x="820" y="437"/>
                </a:cubicBezTo>
                <a:cubicBezTo>
                  <a:pt x="816" y="440"/>
                  <a:pt x="816" y="440"/>
                  <a:pt x="816" y="440"/>
                </a:cubicBezTo>
                <a:cubicBezTo>
                  <a:pt x="816" y="441"/>
                  <a:pt x="815" y="442"/>
                  <a:pt x="814" y="443"/>
                </a:cubicBezTo>
                <a:cubicBezTo>
                  <a:pt x="816" y="445"/>
                  <a:pt x="816" y="445"/>
                  <a:pt x="816" y="445"/>
                </a:cubicBezTo>
                <a:cubicBezTo>
                  <a:pt x="815" y="446"/>
                  <a:pt x="814" y="447"/>
                  <a:pt x="813" y="447"/>
                </a:cubicBezTo>
                <a:cubicBezTo>
                  <a:pt x="812" y="445"/>
                  <a:pt x="812" y="445"/>
                  <a:pt x="812" y="445"/>
                </a:cubicBezTo>
                <a:cubicBezTo>
                  <a:pt x="809" y="445"/>
                  <a:pt x="809" y="445"/>
                  <a:pt x="809" y="445"/>
                </a:cubicBezTo>
                <a:cubicBezTo>
                  <a:pt x="806" y="451"/>
                  <a:pt x="806" y="451"/>
                  <a:pt x="806" y="451"/>
                </a:cubicBezTo>
                <a:cubicBezTo>
                  <a:pt x="798" y="450"/>
                  <a:pt x="798" y="450"/>
                  <a:pt x="798" y="450"/>
                </a:cubicBezTo>
                <a:cubicBezTo>
                  <a:pt x="797" y="443"/>
                  <a:pt x="797" y="443"/>
                  <a:pt x="797" y="443"/>
                </a:cubicBezTo>
                <a:cubicBezTo>
                  <a:pt x="800" y="440"/>
                  <a:pt x="800" y="440"/>
                  <a:pt x="800" y="440"/>
                </a:cubicBezTo>
                <a:cubicBezTo>
                  <a:pt x="800" y="437"/>
                  <a:pt x="800" y="437"/>
                  <a:pt x="800" y="437"/>
                </a:cubicBezTo>
                <a:cubicBezTo>
                  <a:pt x="794" y="435"/>
                  <a:pt x="794" y="435"/>
                  <a:pt x="794" y="435"/>
                </a:cubicBezTo>
                <a:cubicBezTo>
                  <a:pt x="794" y="431"/>
                  <a:pt x="794" y="431"/>
                  <a:pt x="794" y="431"/>
                </a:cubicBezTo>
                <a:cubicBezTo>
                  <a:pt x="802" y="426"/>
                  <a:pt x="802" y="426"/>
                  <a:pt x="802" y="426"/>
                </a:cubicBezTo>
                <a:cubicBezTo>
                  <a:pt x="800" y="423"/>
                  <a:pt x="800" y="423"/>
                  <a:pt x="800" y="423"/>
                </a:cubicBezTo>
                <a:cubicBezTo>
                  <a:pt x="800" y="420"/>
                  <a:pt x="800" y="420"/>
                  <a:pt x="800" y="420"/>
                </a:cubicBezTo>
                <a:cubicBezTo>
                  <a:pt x="797" y="420"/>
                  <a:pt x="797" y="420"/>
                  <a:pt x="797" y="420"/>
                </a:cubicBezTo>
                <a:cubicBezTo>
                  <a:pt x="793" y="415"/>
                  <a:pt x="793" y="415"/>
                  <a:pt x="793" y="415"/>
                </a:cubicBezTo>
                <a:cubicBezTo>
                  <a:pt x="793" y="409"/>
                  <a:pt x="793" y="409"/>
                  <a:pt x="793" y="409"/>
                </a:cubicBezTo>
                <a:cubicBezTo>
                  <a:pt x="796" y="406"/>
                  <a:pt x="796" y="406"/>
                  <a:pt x="796" y="406"/>
                </a:cubicBezTo>
                <a:cubicBezTo>
                  <a:pt x="796" y="401"/>
                  <a:pt x="796" y="401"/>
                  <a:pt x="796" y="401"/>
                </a:cubicBezTo>
                <a:cubicBezTo>
                  <a:pt x="798" y="399"/>
                  <a:pt x="798" y="399"/>
                  <a:pt x="798" y="399"/>
                </a:cubicBezTo>
                <a:cubicBezTo>
                  <a:pt x="798" y="396"/>
                  <a:pt x="798" y="396"/>
                  <a:pt x="798" y="396"/>
                </a:cubicBezTo>
                <a:cubicBezTo>
                  <a:pt x="791" y="392"/>
                  <a:pt x="791" y="392"/>
                  <a:pt x="791" y="392"/>
                </a:cubicBezTo>
                <a:cubicBezTo>
                  <a:pt x="791" y="386"/>
                  <a:pt x="791" y="386"/>
                  <a:pt x="791" y="386"/>
                </a:cubicBezTo>
                <a:cubicBezTo>
                  <a:pt x="788" y="385"/>
                  <a:pt x="788" y="385"/>
                  <a:pt x="788" y="385"/>
                </a:cubicBezTo>
                <a:cubicBezTo>
                  <a:pt x="784" y="383"/>
                  <a:pt x="784" y="383"/>
                  <a:pt x="784" y="383"/>
                </a:cubicBezTo>
                <a:cubicBezTo>
                  <a:pt x="784" y="382"/>
                  <a:pt x="784" y="381"/>
                  <a:pt x="783" y="380"/>
                </a:cubicBezTo>
                <a:cubicBezTo>
                  <a:pt x="779" y="377"/>
                  <a:pt x="779" y="377"/>
                  <a:pt x="779" y="377"/>
                </a:cubicBezTo>
                <a:cubicBezTo>
                  <a:pt x="776" y="377"/>
                  <a:pt x="776" y="377"/>
                  <a:pt x="776" y="377"/>
                </a:cubicBezTo>
                <a:cubicBezTo>
                  <a:pt x="775" y="376"/>
                  <a:pt x="775" y="376"/>
                  <a:pt x="775" y="376"/>
                </a:cubicBezTo>
                <a:cubicBezTo>
                  <a:pt x="776" y="376"/>
                  <a:pt x="776" y="376"/>
                  <a:pt x="776" y="376"/>
                </a:cubicBezTo>
                <a:cubicBezTo>
                  <a:pt x="776" y="373"/>
                  <a:pt x="776" y="373"/>
                  <a:pt x="776" y="373"/>
                </a:cubicBezTo>
                <a:cubicBezTo>
                  <a:pt x="775" y="361"/>
                  <a:pt x="775" y="361"/>
                  <a:pt x="775" y="361"/>
                </a:cubicBezTo>
                <a:cubicBezTo>
                  <a:pt x="770" y="355"/>
                  <a:pt x="770" y="355"/>
                  <a:pt x="770" y="355"/>
                </a:cubicBezTo>
                <a:cubicBezTo>
                  <a:pt x="775" y="351"/>
                  <a:pt x="775" y="351"/>
                  <a:pt x="775" y="351"/>
                </a:cubicBezTo>
                <a:cubicBezTo>
                  <a:pt x="776" y="351"/>
                  <a:pt x="776" y="351"/>
                  <a:pt x="776" y="351"/>
                </a:cubicBezTo>
                <a:cubicBezTo>
                  <a:pt x="777" y="351"/>
                  <a:pt x="778" y="350"/>
                  <a:pt x="779" y="349"/>
                </a:cubicBezTo>
                <a:cubicBezTo>
                  <a:pt x="786" y="349"/>
                  <a:pt x="786" y="349"/>
                  <a:pt x="786" y="349"/>
                </a:cubicBezTo>
                <a:cubicBezTo>
                  <a:pt x="789" y="346"/>
                  <a:pt x="789" y="346"/>
                  <a:pt x="789" y="346"/>
                </a:cubicBezTo>
                <a:cubicBezTo>
                  <a:pt x="796" y="343"/>
                  <a:pt x="796" y="343"/>
                  <a:pt x="796" y="343"/>
                </a:cubicBezTo>
                <a:cubicBezTo>
                  <a:pt x="799" y="350"/>
                  <a:pt x="799" y="350"/>
                  <a:pt x="799" y="350"/>
                </a:cubicBezTo>
                <a:cubicBezTo>
                  <a:pt x="797" y="352"/>
                  <a:pt x="797" y="352"/>
                  <a:pt x="797" y="352"/>
                </a:cubicBezTo>
                <a:cubicBezTo>
                  <a:pt x="798" y="359"/>
                  <a:pt x="798" y="359"/>
                  <a:pt x="798" y="359"/>
                </a:cubicBezTo>
                <a:cubicBezTo>
                  <a:pt x="803" y="364"/>
                  <a:pt x="808" y="367"/>
                  <a:pt x="814" y="369"/>
                </a:cubicBezTo>
                <a:cubicBezTo>
                  <a:pt x="819" y="366"/>
                  <a:pt x="819" y="366"/>
                  <a:pt x="819" y="366"/>
                </a:cubicBezTo>
                <a:cubicBezTo>
                  <a:pt x="823" y="368"/>
                  <a:pt x="823" y="368"/>
                  <a:pt x="823" y="368"/>
                </a:cubicBezTo>
                <a:cubicBezTo>
                  <a:pt x="824" y="361"/>
                  <a:pt x="824" y="361"/>
                  <a:pt x="824" y="361"/>
                </a:cubicBezTo>
                <a:cubicBezTo>
                  <a:pt x="834" y="355"/>
                  <a:pt x="834" y="355"/>
                  <a:pt x="834" y="355"/>
                </a:cubicBezTo>
                <a:cubicBezTo>
                  <a:pt x="838" y="358"/>
                  <a:pt x="838" y="358"/>
                  <a:pt x="838" y="358"/>
                </a:cubicBezTo>
                <a:cubicBezTo>
                  <a:pt x="842" y="355"/>
                  <a:pt x="842" y="355"/>
                  <a:pt x="842" y="355"/>
                </a:cubicBezTo>
                <a:cubicBezTo>
                  <a:pt x="849" y="350"/>
                  <a:pt x="849" y="350"/>
                  <a:pt x="849" y="350"/>
                </a:cubicBezTo>
                <a:cubicBezTo>
                  <a:pt x="854" y="350"/>
                  <a:pt x="854" y="350"/>
                  <a:pt x="854" y="350"/>
                </a:cubicBezTo>
                <a:cubicBezTo>
                  <a:pt x="856" y="349"/>
                  <a:pt x="856" y="349"/>
                  <a:pt x="856" y="349"/>
                </a:cubicBezTo>
                <a:cubicBezTo>
                  <a:pt x="859" y="342"/>
                  <a:pt x="857" y="337"/>
                  <a:pt x="850" y="334"/>
                </a:cubicBezTo>
                <a:cubicBezTo>
                  <a:pt x="850" y="329"/>
                  <a:pt x="850" y="329"/>
                  <a:pt x="850" y="329"/>
                </a:cubicBezTo>
                <a:cubicBezTo>
                  <a:pt x="848" y="327"/>
                  <a:pt x="848" y="327"/>
                  <a:pt x="848" y="327"/>
                </a:cubicBezTo>
                <a:cubicBezTo>
                  <a:pt x="847" y="325"/>
                  <a:pt x="847" y="325"/>
                  <a:pt x="847" y="325"/>
                </a:cubicBezTo>
                <a:cubicBezTo>
                  <a:pt x="844" y="324"/>
                  <a:pt x="844" y="324"/>
                  <a:pt x="844" y="324"/>
                </a:cubicBezTo>
                <a:cubicBezTo>
                  <a:pt x="841" y="319"/>
                  <a:pt x="841" y="319"/>
                  <a:pt x="841" y="319"/>
                </a:cubicBezTo>
                <a:cubicBezTo>
                  <a:pt x="846" y="308"/>
                  <a:pt x="846" y="308"/>
                  <a:pt x="846" y="308"/>
                </a:cubicBezTo>
                <a:cubicBezTo>
                  <a:pt x="846" y="305"/>
                  <a:pt x="846" y="305"/>
                  <a:pt x="846" y="305"/>
                </a:cubicBezTo>
                <a:cubicBezTo>
                  <a:pt x="826" y="303"/>
                  <a:pt x="826" y="303"/>
                  <a:pt x="826" y="303"/>
                </a:cubicBezTo>
                <a:cubicBezTo>
                  <a:pt x="824" y="302"/>
                  <a:pt x="824" y="302"/>
                  <a:pt x="824" y="302"/>
                </a:cubicBezTo>
                <a:cubicBezTo>
                  <a:pt x="820" y="301"/>
                  <a:pt x="820" y="301"/>
                  <a:pt x="820" y="301"/>
                </a:cubicBezTo>
                <a:cubicBezTo>
                  <a:pt x="820" y="295"/>
                  <a:pt x="820" y="295"/>
                  <a:pt x="820" y="295"/>
                </a:cubicBezTo>
                <a:cubicBezTo>
                  <a:pt x="818" y="295"/>
                  <a:pt x="818" y="295"/>
                  <a:pt x="818" y="295"/>
                </a:cubicBezTo>
                <a:cubicBezTo>
                  <a:pt x="810" y="288"/>
                  <a:pt x="810" y="288"/>
                  <a:pt x="810" y="288"/>
                </a:cubicBezTo>
                <a:cubicBezTo>
                  <a:pt x="809" y="281"/>
                  <a:pt x="809" y="281"/>
                  <a:pt x="809" y="281"/>
                </a:cubicBezTo>
                <a:cubicBezTo>
                  <a:pt x="810" y="281"/>
                  <a:pt x="810" y="281"/>
                  <a:pt x="810" y="280"/>
                </a:cubicBezTo>
                <a:cubicBezTo>
                  <a:pt x="810" y="280"/>
                  <a:pt x="810" y="280"/>
                  <a:pt x="810" y="279"/>
                </a:cubicBezTo>
                <a:cubicBezTo>
                  <a:pt x="808" y="273"/>
                  <a:pt x="808" y="273"/>
                  <a:pt x="808" y="273"/>
                </a:cubicBezTo>
                <a:cubicBezTo>
                  <a:pt x="807" y="273"/>
                  <a:pt x="807" y="273"/>
                  <a:pt x="807" y="273"/>
                </a:cubicBezTo>
                <a:cubicBezTo>
                  <a:pt x="807" y="273"/>
                  <a:pt x="807" y="273"/>
                  <a:pt x="808" y="272"/>
                </a:cubicBezTo>
                <a:cubicBezTo>
                  <a:pt x="820" y="271"/>
                  <a:pt x="820" y="271"/>
                  <a:pt x="820" y="271"/>
                </a:cubicBezTo>
                <a:cubicBezTo>
                  <a:pt x="822" y="269"/>
                  <a:pt x="822" y="269"/>
                  <a:pt x="822" y="269"/>
                </a:cubicBezTo>
                <a:cubicBezTo>
                  <a:pt x="816" y="262"/>
                  <a:pt x="816" y="262"/>
                  <a:pt x="816" y="262"/>
                </a:cubicBezTo>
                <a:cubicBezTo>
                  <a:pt x="816" y="259"/>
                  <a:pt x="816" y="259"/>
                  <a:pt x="816" y="259"/>
                </a:cubicBezTo>
                <a:cubicBezTo>
                  <a:pt x="814" y="258"/>
                  <a:pt x="814" y="258"/>
                  <a:pt x="814" y="258"/>
                </a:cubicBezTo>
                <a:cubicBezTo>
                  <a:pt x="808" y="245"/>
                  <a:pt x="808" y="245"/>
                  <a:pt x="808" y="245"/>
                </a:cubicBezTo>
                <a:cubicBezTo>
                  <a:pt x="808" y="239"/>
                  <a:pt x="808" y="239"/>
                  <a:pt x="808" y="239"/>
                </a:cubicBezTo>
                <a:cubicBezTo>
                  <a:pt x="813" y="238"/>
                  <a:pt x="813" y="238"/>
                  <a:pt x="813" y="238"/>
                </a:cubicBezTo>
                <a:cubicBezTo>
                  <a:pt x="819" y="241"/>
                  <a:pt x="819" y="241"/>
                  <a:pt x="819" y="241"/>
                </a:cubicBezTo>
                <a:cubicBezTo>
                  <a:pt x="844" y="241"/>
                  <a:pt x="844" y="241"/>
                  <a:pt x="844" y="241"/>
                </a:cubicBezTo>
                <a:cubicBezTo>
                  <a:pt x="853" y="231"/>
                  <a:pt x="853" y="231"/>
                  <a:pt x="853" y="231"/>
                </a:cubicBezTo>
                <a:cubicBezTo>
                  <a:pt x="854" y="224"/>
                  <a:pt x="854" y="224"/>
                  <a:pt x="854" y="224"/>
                </a:cubicBezTo>
                <a:cubicBezTo>
                  <a:pt x="860" y="219"/>
                  <a:pt x="860" y="213"/>
                  <a:pt x="854" y="207"/>
                </a:cubicBezTo>
                <a:cubicBezTo>
                  <a:pt x="854" y="207"/>
                  <a:pt x="854" y="207"/>
                  <a:pt x="853" y="207"/>
                </a:cubicBezTo>
                <a:cubicBezTo>
                  <a:pt x="854" y="204"/>
                  <a:pt x="854" y="204"/>
                  <a:pt x="854" y="204"/>
                </a:cubicBezTo>
                <a:cubicBezTo>
                  <a:pt x="859" y="208"/>
                  <a:pt x="864" y="209"/>
                  <a:pt x="869" y="207"/>
                </a:cubicBezTo>
                <a:cubicBezTo>
                  <a:pt x="870" y="206"/>
                  <a:pt x="870" y="206"/>
                  <a:pt x="871" y="205"/>
                </a:cubicBezTo>
                <a:cubicBezTo>
                  <a:pt x="870" y="203"/>
                  <a:pt x="870" y="203"/>
                  <a:pt x="870" y="203"/>
                </a:cubicBezTo>
                <a:cubicBezTo>
                  <a:pt x="871" y="198"/>
                  <a:pt x="871" y="198"/>
                  <a:pt x="871" y="198"/>
                </a:cubicBezTo>
                <a:cubicBezTo>
                  <a:pt x="881" y="194"/>
                  <a:pt x="881" y="194"/>
                  <a:pt x="881" y="194"/>
                </a:cubicBezTo>
                <a:cubicBezTo>
                  <a:pt x="881" y="191"/>
                  <a:pt x="881" y="191"/>
                  <a:pt x="881" y="191"/>
                </a:cubicBezTo>
                <a:cubicBezTo>
                  <a:pt x="884" y="190"/>
                  <a:pt x="884" y="190"/>
                  <a:pt x="884" y="190"/>
                </a:cubicBezTo>
                <a:cubicBezTo>
                  <a:pt x="894" y="190"/>
                  <a:pt x="894" y="190"/>
                  <a:pt x="894" y="190"/>
                </a:cubicBezTo>
                <a:cubicBezTo>
                  <a:pt x="894" y="186"/>
                  <a:pt x="894" y="182"/>
                  <a:pt x="896" y="180"/>
                </a:cubicBezTo>
                <a:cubicBezTo>
                  <a:pt x="898" y="179"/>
                  <a:pt x="899" y="177"/>
                  <a:pt x="901" y="177"/>
                </a:cubicBezTo>
                <a:cubicBezTo>
                  <a:pt x="904" y="173"/>
                  <a:pt x="904" y="173"/>
                  <a:pt x="904" y="173"/>
                </a:cubicBezTo>
                <a:cubicBezTo>
                  <a:pt x="904" y="157"/>
                  <a:pt x="909" y="142"/>
                  <a:pt x="916" y="129"/>
                </a:cubicBezTo>
                <a:cubicBezTo>
                  <a:pt x="911" y="122"/>
                  <a:pt x="911" y="122"/>
                  <a:pt x="911" y="122"/>
                </a:cubicBezTo>
                <a:cubicBezTo>
                  <a:pt x="908" y="122"/>
                  <a:pt x="908" y="122"/>
                  <a:pt x="908" y="122"/>
                </a:cubicBezTo>
                <a:cubicBezTo>
                  <a:pt x="907" y="120"/>
                  <a:pt x="907" y="120"/>
                  <a:pt x="907" y="120"/>
                </a:cubicBezTo>
                <a:cubicBezTo>
                  <a:pt x="904" y="120"/>
                  <a:pt x="904" y="120"/>
                  <a:pt x="904" y="120"/>
                </a:cubicBezTo>
                <a:cubicBezTo>
                  <a:pt x="904" y="124"/>
                  <a:pt x="904" y="124"/>
                  <a:pt x="904" y="124"/>
                </a:cubicBezTo>
                <a:cubicBezTo>
                  <a:pt x="900" y="126"/>
                  <a:pt x="900" y="126"/>
                  <a:pt x="900" y="126"/>
                </a:cubicBezTo>
                <a:cubicBezTo>
                  <a:pt x="900" y="129"/>
                  <a:pt x="900" y="129"/>
                  <a:pt x="900" y="129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2" y="132"/>
                  <a:pt x="889" y="131"/>
                  <a:pt x="888" y="129"/>
                </a:cubicBezTo>
                <a:cubicBezTo>
                  <a:pt x="887" y="127"/>
                  <a:pt x="887" y="125"/>
                  <a:pt x="888" y="122"/>
                </a:cubicBezTo>
                <a:cubicBezTo>
                  <a:pt x="885" y="117"/>
                  <a:pt x="885" y="117"/>
                  <a:pt x="885" y="117"/>
                </a:cubicBezTo>
                <a:cubicBezTo>
                  <a:pt x="876" y="117"/>
                  <a:pt x="876" y="117"/>
                  <a:pt x="876" y="117"/>
                </a:cubicBezTo>
                <a:cubicBezTo>
                  <a:pt x="876" y="115"/>
                  <a:pt x="876" y="115"/>
                  <a:pt x="876" y="115"/>
                </a:cubicBezTo>
                <a:cubicBezTo>
                  <a:pt x="868" y="112"/>
                  <a:pt x="868" y="112"/>
                  <a:pt x="868" y="112"/>
                </a:cubicBezTo>
                <a:cubicBezTo>
                  <a:pt x="864" y="109"/>
                  <a:pt x="864" y="109"/>
                  <a:pt x="864" y="109"/>
                </a:cubicBezTo>
                <a:cubicBezTo>
                  <a:pt x="864" y="105"/>
                  <a:pt x="864" y="105"/>
                  <a:pt x="864" y="105"/>
                </a:cubicBezTo>
                <a:cubicBezTo>
                  <a:pt x="863" y="102"/>
                  <a:pt x="861" y="99"/>
                  <a:pt x="859" y="96"/>
                </a:cubicBezTo>
                <a:cubicBezTo>
                  <a:pt x="858" y="94"/>
                  <a:pt x="855" y="94"/>
                  <a:pt x="852" y="95"/>
                </a:cubicBezTo>
                <a:cubicBezTo>
                  <a:pt x="850" y="96"/>
                  <a:pt x="850" y="96"/>
                  <a:pt x="850" y="96"/>
                </a:cubicBezTo>
                <a:cubicBezTo>
                  <a:pt x="850" y="95"/>
                  <a:pt x="850" y="95"/>
                  <a:pt x="850" y="95"/>
                </a:cubicBezTo>
                <a:cubicBezTo>
                  <a:pt x="849" y="95"/>
                  <a:pt x="848" y="95"/>
                  <a:pt x="848" y="95"/>
                </a:cubicBezTo>
                <a:cubicBezTo>
                  <a:pt x="848" y="88"/>
                  <a:pt x="848" y="88"/>
                  <a:pt x="848" y="88"/>
                </a:cubicBezTo>
                <a:cubicBezTo>
                  <a:pt x="846" y="86"/>
                  <a:pt x="846" y="86"/>
                  <a:pt x="846" y="86"/>
                </a:cubicBezTo>
                <a:cubicBezTo>
                  <a:pt x="845" y="88"/>
                  <a:pt x="845" y="88"/>
                  <a:pt x="845" y="88"/>
                </a:cubicBezTo>
                <a:cubicBezTo>
                  <a:pt x="842" y="88"/>
                  <a:pt x="842" y="88"/>
                  <a:pt x="842" y="88"/>
                </a:cubicBezTo>
                <a:cubicBezTo>
                  <a:pt x="841" y="86"/>
                  <a:pt x="841" y="86"/>
                  <a:pt x="841" y="86"/>
                </a:cubicBezTo>
                <a:cubicBezTo>
                  <a:pt x="837" y="86"/>
                  <a:pt x="837" y="86"/>
                  <a:pt x="837" y="86"/>
                </a:cubicBezTo>
                <a:cubicBezTo>
                  <a:pt x="834" y="90"/>
                  <a:pt x="834" y="90"/>
                  <a:pt x="834" y="90"/>
                </a:cubicBezTo>
                <a:cubicBezTo>
                  <a:pt x="828" y="90"/>
                  <a:pt x="828" y="90"/>
                  <a:pt x="828" y="90"/>
                </a:cubicBezTo>
                <a:cubicBezTo>
                  <a:pt x="827" y="89"/>
                  <a:pt x="827" y="89"/>
                  <a:pt x="827" y="89"/>
                </a:cubicBezTo>
                <a:cubicBezTo>
                  <a:pt x="819" y="92"/>
                  <a:pt x="811" y="93"/>
                  <a:pt x="804" y="90"/>
                </a:cubicBezTo>
                <a:cubicBezTo>
                  <a:pt x="802" y="89"/>
                  <a:pt x="802" y="89"/>
                  <a:pt x="802" y="89"/>
                </a:cubicBezTo>
                <a:cubicBezTo>
                  <a:pt x="800" y="89"/>
                  <a:pt x="800" y="89"/>
                  <a:pt x="800" y="89"/>
                </a:cubicBezTo>
                <a:cubicBezTo>
                  <a:pt x="791" y="92"/>
                  <a:pt x="791" y="92"/>
                  <a:pt x="791" y="92"/>
                </a:cubicBezTo>
                <a:cubicBezTo>
                  <a:pt x="779" y="102"/>
                  <a:pt x="779" y="102"/>
                  <a:pt x="779" y="102"/>
                </a:cubicBezTo>
                <a:cubicBezTo>
                  <a:pt x="756" y="110"/>
                  <a:pt x="756" y="110"/>
                  <a:pt x="756" y="110"/>
                </a:cubicBezTo>
                <a:cubicBezTo>
                  <a:pt x="750" y="120"/>
                  <a:pt x="750" y="120"/>
                  <a:pt x="750" y="120"/>
                </a:cubicBezTo>
                <a:cubicBezTo>
                  <a:pt x="746" y="120"/>
                  <a:pt x="746" y="120"/>
                  <a:pt x="746" y="120"/>
                </a:cubicBezTo>
                <a:cubicBezTo>
                  <a:pt x="743" y="117"/>
                  <a:pt x="743" y="117"/>
                  <a:pt x="743" y="117"/>
                </a:cubicBezTo>
                <a:cubicBezTo>
                  <a:pt x="738" y="119"/>
                  <a:pt x="738" y="119"/>
                  <a:pt x="738" y="119"/>
                </a:cubicBezTo>
                <a:cubicBezTo>
                  <a:pt x="736" y="123"/>
                  <a:pt x="736" y="123"/>
                  <a:pt x="736" y="123"/>
                </a:cubicBezTo>
                <a:cubicBezTo>
                  <a:pt x="733" y="126"/>
                  <a:pt x="733" y="126"/>
                  <a:pt x="733" y="126"/>
                </a:cubicBezTo>
                <a:cubicBezTo>
                  <a:pt x="729" y="126"/>
                  <a:pt x="729" y="126"/>
                  <a:pt x="729" y="126"/>
                </a:cubicBezTo>
                <a:cubicBezTo>
                  <a:pt x="726" y="123"/>
                  <a:pt x="726" y="123"/>
                  <a:pt x="726" y="123"/>
                </a:cubicBezTo>
                <a:cubicBezTo>
                  <a:pt x="722" y="123"/>
                  <a:pt x="722" y="123"/>
                  <a:pt x="722" y="123"/>
                </a:cubicBezTo>
                <a:cubicBezTo>
                  <a:pt x="707" y="126"/>
                  <a:pt x="707" y="126"/>
                  <a:pt x="707" y="126"/>
                </a:cubicBezTo>
                <a:cubicBezTo>
                  <a:pt x="706" y="124"/>
                  <a:pt x="706" y="124"/>
                  <a:pt x="706" y="124"/>
                </a:cubicBezTo>
                <a:cubicBezTo>
                  <a:pt x="696" y="126"/>
                  <a:pt x="696" y="126"/>
                  <a:pt x="696" y="126"/>
                </a:cubicBezTo>
                <a:cubicBezTo>
                  <a:pt x="695" y="127"/>
                  <a:pt x="695" y="127"/>
                  <a:pt x="695" y="127"/>
                </a:cubicBezTo>
                <a:cubicBezTo>
                  <a:pt x="692" y="126"/>
                  <a:pt x="692" y="126"/>
                  <a:pt x="692" y="126"/>
                </a:cubicBezTo>
                <a:cubicBezTo>
                  <a:pt x="691" y="123"/>
                  <a:pt x="691" y="123"/>
                  <a:pt x="691" y="123"/>
                </a:cubicBezTo>
                <a:cubicBezTo>
                  <a:pt x="688" y="122"/>
                  <a:pt x="688" y="122"/>
                  <a:pt x="688" y="122"/>
                </a:cubicBezTo>
                <a:cubicBezTo>
                  <a:pt x="677" y="122"/>
                  <a:pt x="677" y="122"/>
                  <a:pt x="677" y="122"/>
                </a:cubicBezTo>
                <a:cubicBezTo>
                  <a:pt x="673" y="119"/>
                  <a:pt x="673" y="119"/>
                  <a:pt x="673" y="119"/>
                </a:cubicBezTo>
                <a:cubicBezTo>
                  <a:pt x="670" y="119"/>
                  <a:pt x="670" y="119"/>
                  <a:pt x="670" y="119"/>
                </a:cubicBezTo>
                <a:cubicBezTo>
                  <a:pt x="669" y="116"/>
                  <a:pt x="669" y="116"/>
                  <a:pt x="669" y="116"/>
                </a:cubicBezTo>
                <a:cubicBezTo>
                  <a:pt x="660" y="116"/>
                  <a:pt x="660" y="116"/>
                  <a:pt x="660" y="116"/>
                </a:cubicBezTo>
                <a:cubicBezTo>
                  <a:pt x="654" y="110"/>
                  <a:pt x="654" y="110"/>
                  <a:pt x="654" y="110"/>
                </a:cubicBezTo>
                <a:cubicBezTo>
                  <a:pt x="647" y="112"/>
                  <a:pt x="647" y="112"/>
                  <a:pt x="647" y="112"/>
                </a:cubicBezTo>
                <a:cubicBezTo>
                  <a:pt x="638" y="103"/>
                  <a:pt x="638" y="103"/>
                  <a:pt x="638" y="103"/>
                </a:cubicBezTo>
                <a:cubicBezTo>
                  <a:pt x="636" y="103"/>
                  <a:pt x="636" y="103"/>
                  <a:pt x="636" y="103"/>
                </a:cubicBezTo>
                <a:cubicBezTo>
                  <a:pt x="633" y="100"/>
                  <a:pt x="633" y="100"/>
                  <a:pt x="633" y="100"/>
                </a:cubicBezTo>
                <a:cubicBezTo>
                  <a:pt x="633" y="92"/>
                  <a:pt x="633" y="92"/>
                  <a:pt x="633" y="92"/>
                </a:cubicBezTo>
                <a:cubicBezTo>
                  <a:pt x="629" y="92"/>
                  <a:pt x="629" y="92"/>
                  <a:pt x="629" y="92"/>
                </a:cubicBezTo>
                <a:cubicBezTo>
                  <a:pt x="628" y="95"/>
                  <a:pt x="628" y="95"/>
                  <a:pt x="628" y="95"/>
                </a:cubicBezTo>
                <a:cubicBezTo>
                  <a:pt x="625" y="93"/>
                  <a:pt x="625" y="93"/>
                  <a:pt x="625" y="93"/>
                </a:cubicBezTo>
                <a:cubicBezTo>
                  <a:pt x="622" y="96"/>
                  <a:pt x="622" y="96"/>
                  <a:pt x="622" y="96"/>
                </a:cubicBezTo>
                <a:cubicBezTo>
                  <a:pt x="619" y="95"/>
                  <a:pt x="619" y="95"/>
                  <a:pt x="619" y="95"/>
                </a:cubicBezTo>
                <a:cubicBezTo>
                  <a:pt x="615" y="99"/>
                  <a:pt x="615" y="99"/>
                  <a:pt x="615" y="99"/>
                </a:cubicBezTo>
                <a:cubicBezTo>
                  <a:pt x="611" y="97"/>
                  <a:pt x="611" y="97"/>
                  <a:pt x="611" y="97"/>
                </a:cubicBezTo>
                <a:cubicBezTo>
                  <a:pt x="604" y="97"/>
                  <a:pt x="604" y="97"/>
                  <a:pt x="604" y="97"/>
                </a:cubicBezTo>
                <a:cubicBezTo>
                  <a:pt x="602" y="99"/>
                  <a:pt x="602" y="99"/>
                  <a:pt x="602" y="99"/>
                </a:cubicBezTo>
                <a:cubicBezTo>
                  <a:pt x="601" y="90"/>
                  <a:pt x="601" y="90"/>
                  <a:pt x="601" y="90"/>
                </a:cubicBezTo>
                <a:cubicBezTo>
                  <a:pt x="594" y="83"/>
                  <a:pt x="594" y="83"/>
                  <a:pt x="594" y="83"/>
                </a:cubicBezTo>
                <a:cubicBezTo>
                  <a:pt x="588" y="83"/>
                  <a:pt x="588" y="83"/>
                  <a:pt x="588" y="83"/>
                </a:cubicBezTo>
                <a:cubicBezTo>
                  <a:pt x="585" y="81"/>
                  <a:pt x="585" y="81"/>
                  <a:pt x="585" y="81"/>
                </a:cubicBezTo>
                <a:cubicBezTo>
                  <a:pt x="583" y="76"/>
                  <a:pt x="583" y="76"/>
                  <a:pt x="583" y="76"/>
                </a:cubicBezTo>
                <a:cubicBezTo>
                  <a:pt x="589" y="73"/>
                  <a:pt x="589" y="73"/>
                  <a:pt x="589" y="73"/>
                </a:cubicBezTo>
                <a:cubicBezTo>
                  <a:pt x="590" y="72"/>
                  <a:pt x="590" y="72"/>
                  <a:pt x="590" y="72"/>
                </a:cubicBezTo>
                <a:cubicBezTo>
                  <a:pt x="589" y="71"/>
                  <a:pt x="589" y="71"/>
                  <a:pt x="589" y="71"/>
                </a:cubicBezTo>
                <a:cubicBezTo>
                  <a:pt x="589" y="68"/>
                  <a:pt x="589" y="68"/>
                  <a:pt x="589" y="68"/>
                </a:cubicBezTo>
                <a:cubicBezTo>
                  <a:pt x="593" y="68"/>
                  <a:pt x="593" y="68"/>
                  <a:pt x="593" y="68"/>
                </a:cubicBezTo>
                <a:cubicBezTo>
                  <a:pt x="588" y="62"/>
                  <a:pt x="588" y="62"/>
                  <a:pt x="588" y="62"/>
                </a:cubicBezTo>
                <a:cubicBezTo>
                  <a:pt x="588" y="58"/>
                  <a:pt x="588" y="58"/>
                  <a:pt x="588" y="58"/>
                </a:cubicBezTo>
                <a:cubicBezTo>
                  <a:pt x="590" y="55"/>
                  <a:pt x="590" y="55"/>
                  <a:pt x="590" y="55"/>
                </a:cubicBezTo>
                <a:cubicBezTo>
                  <a:pt x="586" y="44"/>
                  <a:pt x="586" y="44"/>
                  <a:pt x="586" y="44"/>
                </a:cubicBezTo>
                <a:cubicBezTo>
                  <a:pt x="583" y="42"/>
                  <a:pt x="583" y="42"/>
                  <a:pt x="583" y="42"/>
                </a:cubicBezTo>
                <a:cubicBezTo>
                  <a:pt x="583" y="38"/>
                  <a:pt x="583" y="38"/>
                  <a:pt x="583" y="38"/>
                </a:cubicBezTo>
                <a:cubicBezTo>
                  <a:pt x="579" y="35"/>
                  <a:pt x="579" y="35"/>
                  <a:pt x="579" y="35"/>
                </a:cubicBezTo>
                <a:cubicBezTo>
                  <a:pt x="578" y="32"/>
                  <a:pt x="578" y="32"/>
                  <a:pt x="578" y="32"/>
                </a:cubicBezTo>
                <a:cubicBezTo>
                  <a:pt x="574" y="29"/>
                  <a:pt x="574" y="29"/>
                  <a:pt x="574" y="29"/>
                </a:cubicBezTo>
                <a:cubicBezTo>
                  <a:pt x="568" y="28"/>
                  <a:pt x="568" y="28"/>
                  <a:pt x="568" y="28"/>
                </a:cubicBezTo>
                <a:cubicBezTo>
                  <a:pt x="567" y="27"/>
                  <a:pt x="567" y="27"/>
                  <a:pt x="567" y="27"/>
                </a:cubicBezTo>
                <a:cubicBezTo>
                  <a:pt x="564" y="27"/>
                  <a:pt x="564" y="27"/>
                  <a:pt x="564" y="27"/>
                </a:cubicBezTo>
                <a:cubicBezTo>
                  <a:pt x="563" y="25"/>
                  <a:pt x="563" y="25"/>
                  <a:pt x="563" y="25"/>
                </a:cubicBezTo>
                <a:cubicBezTo>
                  <a:pt x="556" y="27"/>
                  <a:pt x="556" y="27"/>
                  <a:pt x="556" y="27"/>
                </a:cubicBezTo>
                <a:cubicBezTo>
                  <a:pt x="554" y="25"/>
                  <a:pt x="554" y="25"/>
                  <a:pt x="554" y="25"/>
                </a:cubicBezTo>
                <a:cubicBezTo>
                  <a:pt x="553" y="27"/>
                  <a:pt x="553" y="27"/>
                  <a:pt x="553" y="27"/>
                </a:cubicBezTo>
                <a:cubicBezTo>
                  <a:pt x="553" y="27"/>
                  <a:pt x="553" y="27"/>
                  <a:pt x="554" y="28"/>
                </a:cubicBezTo>
                <a:cubicBezTo>
                  <a:pt x="554" y="28"/>
                  <a:pt x="554" y="28"/>
                  <a:pt x="554" y="28"/>
                </a:cubicBezTo>
                <a:cubicBezTo>
                  <a:pt x="553" y="29"/>
                  <a:pt x="553" y="29"/>
                  <a:pt x="553" y="29"/>
                </a:cubicBezTo>
                <a:cubicBezTo>
                  <a:pt x="550" y="28"/>
                  <a:pt x="550" y="28"/>
                  <a:pt x="550" y="28"/>
                </a:cubicBezTo>
                <a:cubicBezTo>
                  <a:pt x="549" y="29"/>
                  <a:pt x="549" y="29"/>
                  <a:pt x="549" y="29"/>
                </a:cubicBezTo>
                <a:cubicBezTo>
                  <a:pt x="545" y="25"/>
                  <a:pt x="545" y="25"/>
                  <a:pt x="545" y="25"/>
                </a:cubicBezTo>
                <a:cubicBezTo>
                  <a:pt x="545" y="22"/>
                  <a:pt x="545" y="22"/>
                  <a:pt x="545" y="22"/>
                </a:cubicBezTo>
                <a:cubicBezTo>
                  <a:pt x="546" y="21"/>
                  <a:pt x="546" y="21"/>
                  <a:pt x="546" y="21"/>
                </a:cubicBezTo>
                <a:cubicBezTo>
                  <a:pt x="545" y="19"/>
                  <a:pt x="545" y="19"/>
                  <a:pt x="545" y="19"/>
                </a:cubicBezTo>
                <a:cubicBezTo>
                  <a:pt x="545" y="17"/>
                  <a:pt x="545" y="17"/>
                  <a:pt x="545" y="17"/>
                </a:cubicBezTo>
                <a:cubicBezTo>
                  <a:pt x="542" y="15"/>
                  <a:pt x="542" y="15"/>
                  <a:pt x="542" y="15"/>
                </a:cubicBezTo>
                <a:cubicBezTo>
                  <a:pt x="545" y="12"/>
                  <a:pt x="545" y="12"/>
                  <a:pt x="545" y="12"/>
                </a:cubicBezTo>
                <a:cubicBezTo>
                  <a:pt x="531" y="11"/>
                  <a:pt x="531" y="11"/>
                  <a:pt x="531" y="11"/>
                </a:cubicBezTo>
                <a:cubicBezTo>
                  <a:pt x="530" y="9"/>
                  <a:pt x="530" y="9"/>
                  <a:pt x="530" y="9"/>
                </a:cubicBezTo>
                <a:cubicBezTo>
                  <a:pt x="527" y="9"/>
                  <a:pt x="527" y="9"/>
                  <a:pt x="527" y="9"/>
                </a:cubicBezTo>
                <a:cubicBezTo>
                  <a:pt x="526" y="8"/>
                  <a:pt x="526" y="8"/>
                  <a:pt x="526" y="8"/>
                </a:cubicBezTo>
                <a:cubicBezTo>
                  <a:pt x="514" y="7"/>
                  <a:pt x="514" y="7"/>
                  <a:pt x="514" y="7"/>
                </a:cubicBezTo>
                <a:cubicBezTo>
                  <a:pt x="508" y="12"/>
                  <a:pt x="508" y="12"/>
                  <a:pt x="508" y="12"/>
                </a:cubicBezTo>
                <a:cubicBezTo>
                  <a:pt x="501" y="7"/>
                  <a:pt x="501" y="7"/>
                  <a:pt x="501" y="7"/>
                </a:cubicBezTo>
                <a:cubicBezTo>
                  <a:pt x="501" y="2"/>
                  <a:pt x="501" y="2"/>
                  <a:pt x="501" y="2"/>
                </a:cubicBezTo>
                <a:cubicBezTo>
                  <a:pt x="494" y="7"/>
                  <a:pt x="494" y="7"/>
                  <a:pt x="494" y="7"/>
                </a:cubicBezTo>
                <a:cubicBezTo>
                  <a:pt x="490" y="0"/>
                  <a:pt x="490" y="0"/>
                  <a:pt x="490" y="0"/>
                </a:cubicBezTo>
                <a:cubicBezTo>
                  <a:pt x="487" y="1"/>
                  <a:pt x="487" y="1"/>
                  <a:pt x="487" y="1"/>
                </a:cubicBezTo>
                <a:cubicBezTo>
                  <a:pt x="484" y="1"/>
                  <a:pt x="484" y="1"/>
                  <a:pt x="484" y="1"/>
                </a:cubicBezTo>
                <a:cubicBezTo>
                  <a:pt x="484" y="4"/>
                  <a:pt x="484" y="4"/>
                  <a:pt x="484" y="4"/>
                </a:cubicBezTo>
                <a:cubicBezTo>
                  <a:pt x="482" y="5"/>
                  <a:pt x="482" y="5"/>
                  <a:pt x="482" y="5"/>
                </a:cubicBezTo>
                <a:cubicBezTo>
                  <a:pt x="480" y="11"/>
                  <a:pt x="480" y="11"/>
                  <a:pt x="480" y="11"/>
                </a:cubicBezTo>
                <a:cubicBezTo>
                  <a:pt x="477" y="8"/>
                  <a:pt x="477" y="8"/>
                  <a:pt x="477" y="8"/>
                </a:cubicBezTo>
                <a:cubicBezTo>
                  <a:pt x="469" y="8"/>
                  <a:pt x="469" y="8"/>
                  <a:pt x="469" y="8"/>
                </a:cubicBezTo>
                <a:cubicBezTo>
                  <a:pt x="464" y="14"/>
                  <a:pt x="457" y="16"/>
                  <a:pt x="448" y="15"/>
                </a:cubicBezTo>
                <a:cubicBezTo>
                  <a:pt x="448" y="18"/>
                  <a:pt x="448" y="18"/>
                  <a:pt x="448" y="18"/>
                </a:cubicBezTo>
                <a:cubicBezTo>
                  <a:pt x="447" y="19"/>
                  <a:pt x="447" y="19"/>
                  <a:pt x="447" y="19"/>
                </a:cubicBezTo>
                <a:cubicBezTo>
                  <a:pt x="435" y="21"/>
                  <a:pt x="435" y="21"/>
                  <a:pt x="435" y="21"/>
                </a:cubicBezTo>
                <a:cubicBezTo>
                  <a:pt x="432" y="17"/>
                  <a:pt x="432" y="17"/>
                  <a:pt x="432" y="17"/>
                </a:cubicBezTo>
                <a:cubicBezTo>
                  <a:pt x="426" y="15"/>
                  <a:pt x="426" y="15"/>
                  <a:pt x="426" y="15"/>
                </a:cubicBezTo>
                <a:cubicBezTo>
                  <a:pt x="422" y="17"/>
                  <a:pt x="422" y="17"/>
                  <a:pt x="422" y="17"/>
                </a:cubicBezTo>
                <a:cubicBezTo>
                  <a:pt x="417" y="15"/>
                  <a:pt x="417" y="15"/>
                  <a:pt x="417" y="15"/>
                </a:cubicBezTo>
                <a:cubicBezTo>
                  <a:pt x="415" y="14"/>
                  <a:pt x="415" y="14"/>
                  <a:pt x="415" y="14"/>
                </a:cubicBezTo>
                <a:cubicBezTo>
                  <a:pt x="413" y="15"/>
                  <a:pt x="413" y="15"/>
                  <a:pt x="413" y="15"/>
                </a:cubicBezTo>
                <a:cubicBezTo>
                  <a:pt x="413" y="16"/>
                  <a:pt x="413" y="17"/>
                  <a:pt x="413" y="18"/>
                </a:cubicBezTo>
                <a:cubicBezTo>
                  <a:pt x="413" y="18"/>
                  <a:pt x="413" y="18"/>
                  <a:pt x="414" y="18"/>
                </a:cubicBezTo>
                <a:cubicBezTo>
                  <a:pt x="415" y="19"/>
                  <a:pt x="416" y="20"/>
                  <a:pt x="417" y="20"/>
                </a:cubicBezTo>
                <a:cubicBezTo>
                  <a:pt x="419" y="21"/>
                  <a:pt x="420" y="21"/>
                  <a:pt x="422" y="21"/>
                </a:cubicBezTo>
                <a:cubicBezTo>
                  <a:pt x="426" y="24"/>
                  <a:pt x="426" y="24"/>
                  <a:pt x="426" y="24"/>
                </a:cubicBezTo>
                <a:cubicBezTo>
                  <a:pt x="428" y="27"/>
                  <a:pt x="428" y="27"/>
                  <a:pt x="428" y="27"/>
                </a:cubicBezTo>
                <a:cubicBezTo>
                  <a:pt x="428" y="29"/>
                  <a:pt x="428" y="29"/>
                  <a:pt x="428" y="29"/>
                </a:cubicBezTo>
                <a:cubicBezTo>
                  <a:pt x="427" y="29"/>
                  <a:pt x="427" y="29"/>
                  <a:pt x="427" y="30"/>
                </a:cubicBezTo>
                <a:cubicBezTo>
                  <a:pt x="426" y="30"/>
                  <a:pt x="426" y="30"/>
                  <a:pt x="426" y="31"/>
                </a:cubicBezTo>
                <a:cubicBezTo>
                  <a:pt x="423" y="29"/>
                  <a:pt x="423" y="29"/>
                  <a:pt x="423" y="29"/>
                </a:cubicBezTo>
                <a:cubicBezTo>
                  <a:pt x="407" y="31"/>
                  <a:pt x="407" y="31"/>
                  <a:pt x="407" y="31"/>
                </a:cubicBezTo>
                <a:cubicBezTo>
                  <a:pt x="406" y="29"/>
                  <a:pt x="406" y="29"/>
                  <a:pt x="406" y="29"/>
                </a:cubicBezTo>
                <a:cubicBezTo>
                  <a:pt x="401" y="29"/>
                  <a:pt x="398" y="29"/>
                  <a:pt x="395" y="27"/>
                </a:cubicBezTo>
                <a:cubicBezTo>
                  <a:pt x="395" y="27"/>
                  <a:pt x="395" y="27"/>
                  <a:pt x="395" y="27"/>
                </a:cubicBezTo>
                <a:cubicBezTo>
                  <a:pt x="390" y="27"/>
                  <a:pt x="390" y="27"/>
                  <a:pt x="390" y="27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68" y="31"/>
                  <a:pt x="368" y="31"/>
                  <a:pt x="368" y="31"/>
                </a:cubicBezTo>
                <a:cubicBezTo>
                  <a:pt x="368" y="31"/>
                  <a:pt x="368" y="32"/>
                  <a:pt x="368" y="32"/>
                </a:cubicBezTo>
                <a:cubicBezTo>
                  <a:pt x="368" y="32"/>
                  <a:pt x="367" y="32"/>
                  <a:pt x="366" y="32"/>
                </a:cubicBezTo>
                <a:cubicBezTo>
                  <a:pt x="366" y="35"/>
                  <a:pt x="366" y="35"/>
                  <a:pt x="366" y="35"/>
                </a:cubicBezTo>
                <a:cubicBezTo>
                  <a:pt x="368" y="38"/>
                  <a:pt x="368" y="38"/>
                  <a:pt x="368" y="38"/>
                </a:cubicBezTo>
                <a:cubicBezTo>
                  <a:pt x="366" y="41"/>
                  <a:pt x="366" y="41"/>
                  <a:pt x="366" y="41"/>
                </a:cubicBezTo>
                <a:cubicBezTo>
                  <a:pt x="366" y="42"/>
                  <a:pt x="366" y="43"/>
                  <a:pt x="365" y="43"/>
                </a:cubicBezTo>
                <a:cubicBezTo>
                  <a:pt x="365" y="43"/>
                  <a:pt x="365" y="44"/>
                  <a:pt x="364" y="44"/>
                </a:cubicBezTo>
                <a:cubicBezTo>
                  <a:pt x="364" y="44"/>
                  <a:pt x="364" y="44"/>
                  <a:pt x="364" y="45"/>
                </a:cubicBezTo>
                <a:cubicBezTo>
                  <a:pt x="363" y="45"/>
                  <a:pt x="362" y="45"/>
                  <a:pt x="362" y="45"/>
                </a:cubicBezTo>
                <a:cubicBezTo>
                  <a:pt x="359" y="49"/>
                  <a:pt x="359" y="49"/>
                  <a:pt x="359" y="49"/>
                </a:cubicBezTo>
                <a:cubicBezTo>
                  <a:pt x="353" y="51"/>
                  <a:pt x="353" y="51"/>
                  <a:pt x="353" y="51"/>
                </a:cubicBezTo>
                <a:cubicBezTo>
                  <a:pt x="352" y="57"/>
                  <a:pt x="352" y="57"/>
                  <a:pt x="352" y="57"/>
                </a:cubicBezTo>
                <a:cubicBezTo>
                  <a:pt x="349" y="57"/>
                  <a:pt x="349" y="57"/>
                  <a:pt x="349" y="57"/>
                </a:cubicBezTo>
                <a:cubicBezTo>
                  <a:pt x="345" y="61"/>
                  <a:pt x="345" y="61"/>
                  <a:pt x="345" y="61"/>
                </a:cubicBezTo>
                <a:cubicBezTo>
                  <a:pt x="341" y="61"/>
                  <a:pt x="341" y="61"/>
                  <a:pt x="341" y="61"/>
                </a:cubicBezTo>
                <a:cubicBezTo>
                  <a:pt x="338" y="64"/>
                  <a:pt x="338" y="64"/>
                  <a:pt x="338" y="64"/>
                </a:cubicBezTo>
                <a:cubicBezTo>
                  <a:pt x="332" y="65"/>
                  <a:pt x="332" y="65"/>
                  <a:pt x="332" y="65"/>
                </a:cubicBezTo>
                <a:cubicBezTo>
                  <a:pt x="329" y="66"/>
                  <a:pt x="329" y="66"/>
                  <a:pt x="329" y="66"/>
                </a:cubicBezTo>
                <a:cubicBezTo>
                  <a:pt x="327" y="69"/>
                  <a:pt x="327" y="71"/>
                  <a:pt x="327" y="73"/>
                </a:cubicBezTo>
                <a:cubicBezTo>
                  <a:pt x="328" y="75"/>
                  <a:pt x="328" y="77"/>
                  <a:pt x="326" y="78"/>
                </a:cubicBezTo>
                <a:cubicBezTo>
                  <a:pt x="327" y="82"/>
                  <a:pt x="327" y="82"/>
                  <a:pt x="327" y="82"/>
                </a:cubicBezTo>
                <a:cubicBezTo>
                  <a:pt x="330" y="83"/>
                  <a:pt x="330" y="83"/>
                  <a:pt x="330" y="83"/>
                </a:cubicBezTo>
                <a:cubicBezTo>
                  <a:pt x="330" y="86"/>
                  <a:pt x="330" y="86"/>
                  <a:pt x="330" y="86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0" y="97"/>
                  <a:pt x="330" y="97"/>
                  <a:pt x="330" y="97"/>
                </a:cubicBezTo>
                <a:cubicBezTo>
                  <a:pt x="346" y="97"/>
                  <a:pt x="346" y="97"/>
                  <a:pt x="346" y="97"/>
                </a:cubicBezTo>
                <a:cubicBezTo>
                  <a:pt x="348" y="96"/>
                  <a:pt x="348" y="96"/>
                  <a:pt x="348" y="96"/>
                </a:cubicBezTo>
                <a:cubicBezTo>
                  <a:pt x="359" y="97"/>
                  <a:pt x="359" y="97"/>
                  <a:pt x="359" y="97"/>
                </a:cubicBezTo>
                <a:cubicBezTo>
                  <a:pt x="360" y="99"/>
                  <a:pt x="360" y="99"/>
                  <a:pt x="360" y="99"/>
                </a:cubicBezTo>
                <a:cubicBezTo>
                  <a:pt x="362" y="97"/>
                  <a:pt x="362" y="97"/>
                  <a:pt x="362" y="97"/>
                </a:cubicBezTo>
                <a:cubicBezTo>
                  <a:pt x="370" y="96"/>
                  <a:pt x="370" y="96"/>
                  <a:pt x="370" y="96"/>
                </a:cubicBezTo>
                <a:cubicBezTo>
                  <a:pt x="373" y="99"/>
                  <a:pt x="373" y="99"/>
                  <a:pt x="373" y="99"/>
                </a:cubicBezTo>
                <a:cubicBezTo>
                  <a:pt x="372" y="106"/>
                  <a:pt x="372" y="106"/>
                  <a:pt x="372" y="106"/>
                </a:cubicBezTo>
                <a:cubicBezTo>
                  <a:pt x="373" y="109"/>
                  <a:pt x="373" y="109"/>
                  <a:pt x="373" y="109"/>
                </a:cubicBezTo>
                <a:cubicBezTo>
                  <a:pt x="376" y="110"/>
                  <a:pt x="376" y="110"/>
                  <a:pt x="376" y="110"/>
                </a:cubicBezTo>
                <a:cubicBezTo>
                  <a:pt x="378" y="110"/>
                  <a:pt x="378" y="110"/>
                  <a:pt x="378" y="110"/>
                </a:cubicBezTo>
                <a:cubicBezTo>
                  <a:pt x="381" y="115"/>
                  <a:pt x="381" y="115"/>
                  <a:pt x="381" y="115"/>
                </a:cubicBezTo>
                <a:cubicBezTo>
                  <a:pt x="394" y="118"/>
                  <a:pt x="407" y="121"/>
                  <a:pt x="422" y="123"/>
                </a:cubicBezTo>
                <a:cubicBezTo>
                  <a:pt x="423" y="124"/>
                  <a:pt x="423" y="124"/>
                  <a:pt x="423" y="124"/>
                </a:cubicBezTo>
                <a:cubicBezTo>
                  <a:pt x="421" y="126"/>
                  <a:pt x="421" y="126"/>
                  <a:pt x="421" y="126"/>
                </a:cubicBezTo>
                <a:cubicBezTo>
                  <a:pt x="421" y="129"/>
                  <a:pt x="421" y="129"/>
                  <a:pt x="421" y="129"/>
                </a:cubicBezTo>
                <a:cubicBezTo>
                  <a:pt x="418" y="129"/>
                  <a:pt x="418" y="129"/>
                  <a:pt x="418" y="129"/>
                </a:cubicBezTo>
                <a:cubicBezTo>
                  <a:pt x="417" y="131"/>
                  <a:pt x="417" y="131"/>
                  <a:pt x="417" y="131"/>
                </a:cubicBezTo>
                <a:cubicBezTo>
                  <a:pt x="417" y="146"/>
                  <a:pt x="417" y="146"/>
                  <a:pt x="417" y="146"/>
                </a:cubicBezTo>
                <a:cubicBezTo>
                  <a:pt x="423" y="145"/>
                  <a:pt x="423" y="145"/>
                  <a:pt x="423" y="145"/>
                </a:cubicBezTo>
                <a:cubicBezTo>
                  <a:pt x="426" y="147"/>
                  <a:pt x="426" y="147"/>
                  <a:pt x="426" y="147"/>
                </a:cubicBezTo>
                <a:cubicBezTo>
                  <a:pt x="437" y="149"/>
                  <a:pt x="437" y="149"/>
                  <a:pt x="437" y="149"/>
                </a:cubicBezTo>
                <a:cubicBezTo>
                  <a:pt x="437" y="149"/>
                  <a:pt x="437" y="149"/>
                  <a:pt x="438" y="150"/>
                </a:cubicBezTo>
                <a:cubicBezTo>
                  <a:pt x="438" y="150"/>
                  <a:pt x="438" y="150"/>
                  <a:pt x="439" y="150"/>
                </a:cubicBezTo>
                <a:cubicBezTo>
                  <a:pt x="445" y="151"/>
                  <a:pt x="445" y="151"/>
                  <a:pt x="445" y="151"/>
                </a:cubicBezTo>
                <a:cubicBezTo>
                  <a:pt x="445" y="152"/>
                  <a:pt x="446" y="152"/>
                  <a:pt x="446" y="153"/>
                </a:cubicBezTo>
                <a:cubicBezTo>
                  <a:pt x="446" y="153"/>
                  <a:pt x="446" y="153"/>
                  <a:pt x="447" y="153"/>
                </a:cubicBezTo>
                <a:cubicBezTo>
                  <a:pt x="444" y="156"/>
                  <a:pt x="444" y="156"/>
                  <a:pt x="444" y="156"/>
                </a:cubicBezTo>
                <a:cubicBezTo>
                  <a:pt x="444" y="163"/>
                  <a:pt x="444" y="163"/>
                  <a:pt x="444" y="163"/>
                </a:cubicBezTo>
                <a:cubicBezTo>
                  <a:pt x="441" y="163"/>
                  <a:pt x="441" y="163"/>
                  <a:pt x="441" y="163"/>
                </a:cubicBezTo>
                <a:cubicBezTo>
                  <a:pt x="441" y="167"/>
                  <a:pt x="441" y="167"/>
                  <a:pt x="441" y="167"/>
                </a:cubicBezTo>
                <a:cubicBezTo>
                  <a:pt x="436" y="174"/>
                  <a:pt x="436" y="174"/>
                  <a:pt x="436" y="174"/>
                </a:cubicBezTo>
                <a:cubicBezTo>
                  <a:pt x="433" y="174"/>
                  <a:pt x="433" y="174"/>
                  <a:pt x="433" y="174"/>
                </a:cubicBezTo>
                <a:cubicBezTo>
                  <a:pt x="433" y="175"/>
                  <a:pt x="433" y="175"/>
                  <a:pt x="433" y="175"/>
                </a:cubicBezTo>
                <a:cubicBezTo>
                  <a:pt x="433" y="175"/>
                  <a:pt x="432" y="175"/>
                  <a:pt x="432" y="175"/>
                </a:cubicBezTo>
                <a:cubicBezTo>
                  <a:pt x="417" y="180"/>
                  <a:pt x="417" y="180"/>
                  <a:pt x="417" y="180"/>
                </a:cubicBezTo>
                <a:cubicBezTo>
                  <a:pt x="415" y="184"/>
                  <a:pt x="415" y="184"/>
                  <a:pt x="415" y="184"/>
                </a:cubicBezTo>
                <a:cubicBezTo>
                  <a:pt x="415" y="185"/>
                  <a:pt x="415" y="185"/>
                  <a:pt x="415" y="185"/>
                </a:cubicBezTo>
                <a:cubicBezTo>
                  <a:pt x="414" y="185"/>
                  <a:pt x="413" y="186"/>
                  <a:pt x="413" y="186"/>
                </a:cubicBezTo>
                <a:cubicBezTo>
                  <a:pt x="414" y="190"/>
                  <a:pt x="414" y="190"/>
                  <a:pt x="414" y="190"/>
                </a:cubicBezTo>
                <a:cubicBezTo>
                  <a:pt x="411" y="195"/>
                  <a:pt x="411" y="195"/>
                  <a:pt x="411" y="195"/>
                </a:cubicBezTo>
                <a:cubicBezTo>
                  <a:pt x="403" y="195"/>
                  <a:pt x="403" y="195"/>
                  <a:pt x="403" y="195"/>
                </a:cubicBezTo>
                <a:cubicBezTo>
                  <a:pt x="402" y="197"/>
                  <a:pt x="402" y="197"/>
                  <a:pt x="402" y="197"/>
                </a:cubicBezTo>
                <a:cubicBezTo>
                  <a:pt x="396" y="197"/>
                  <a:pt x="396" y="197"/>
                  <a:pt x="396" y="197"/>
                </a:cubicBezTo>
                <a:cubicBezTo>
                  <a:pt x="395" y="205"/>
                  <a:pt x="395" y="205"/>
                  <a:pt x="395" y="205"/>
                </a:cubicBezTo>
                <a:cubicBezTo>
                  <a:pt x="393" y="207"/>
                  <a:pt x="393" y="207"/>
                  <a:pt x="393" y="207"/>
                </a:cubicBezTo>
                <a:cubicBezTo>
                  <a:pt x="393" y="210"/>
                  <a:pt x="393" y="210"/>
                  <a:pt x="393" y="210"/>
                </a:cubicBezTo>
                <a:cubicBezTo>
                  <a:pt x="392" y="212"/>
                  <a:pt x="392" y="212"/>
                  <a:pt x="392" y="212"/>
                </a:cubicBezTo>
                <a:cubicBezTo>
                  <a:pt x="393" y="217"/>
                  <a:pt x="393" y="217"/>
                  <a:pt x="393" y="217"/>
                </a:cubicBezTo>
                <a:cubicBezTo>
                  <a:pt x="399" y="223"/>
                  <a:pt x="399" y="223"/>
                  <a:pt x="399" y="223"/>
                </a:cubicBezTo>
                <a:cubicBezTo>
                  <a:pt x="399" y="231"/>
                  <a:pt x="399" y="231"/>
                  <a:pt x="399" y="231"/>
                </a:cubicBezTo>
                <a:cubicBezTo>
                  <a:pt x="400" y="232"/>
                  <a:pt x="400" y="232"/>
                  <a:pt x="400" y="232"/>
                </a:cubicBezTo>
                <a:cubicBezTo>
                  <a:pt x="402" y="241"/>
                  <a:pt x="402" y="241"/>
                  <a:pt x="402" y="241"/>
                </a:cubicBezTo>
                <a:cubicBezTo>
                  <a:pt x="403" y="242"/>
                  <a:pt x="403" y="242"/>
                  <a:pt x="403" y="242"/>
                </a:cubicBezTo>
                <a:cubicBezTo>
                  <a:pt x="403" y="245"/>
                  <a:pt x="403" y="245"/>
                  <a:pt x="403" y="245"/>
                </a:cubicBezTo>
                <a:cubicBezTo>
                  <a:pt x="407" y="249"/>
                  <a:pt x="407" y="249"/>
                  <a:pt x="407" y="249"/>
                </a:cubicBezTo>
                <a:cubicBezTo>
                  <a:pt x="406" y="252"/>
                  <a:pt x="406" y="252"/>
                  <a:pt x="406" y="252"/>
                </a:cubicBezTo>
                <a:cubicBezTo>
                  <a:pt x="406" y="271"/>
                  <a:pt x="406" y="271"/>
                  <a:pt x="406" y="271"/>
                </a:cubicBezTo>
                <a:cubicBezTo>
                  <a:pt x="410" y="273"/>
                  <a:pt x="410" y="273"/>
                  <a:pt x="410" y="273"/>
                </a:cubicBezTo>
                <a:cubicBezTo>
                  <a:pt x="410" y="278"/>
                  <a:pt x="410" y="278"/>
                  <a:pt x="410" y="278"/>
                </a:cubicBezTo>
                <a:cubicBezTo>
                  <a:pt x="408" y="279"/>
                  <a:pt x="408" y="279"/>
                  <a:pt x="408" y="279"/>
                </a:cubicBezTo>
                <a:cubicBezTo>
                  <a:pt x="410" y="282"/>
                  <a:pt x="410" y="282"/>
                  <a:pt x="410" y="282"/>
                </a:cubicBezTo>
                <a:cubicBezTo>
                  <a:pt x="406" y="288"/>
                  <a:pt x="406" y="288"/>
                  <a:pt x="406" y="288"/>
                </a:cubicBezTo>
                <a:cubicBezTo>
                  <a:pt x="406" y="291"/>
                  <a:pt x="406" y="291"/>
                  <a:pt x="406" y="291"/>
                </a:cubicBezTo>
                <a:cubicBezTo>
                  <a:pt x="408" y="293"/>
                  <a:pt x="408" y="293"/>
                  <a:pt x="408" y="293"/>
                </a:cubicBezTo>
                <a:cubicBezTo>
                  <a:pt x="408" y="293"/>
                  <a:pt x="408" y="293"/>
                  <a:pt x="408" y="293"/>
                </a:cubicBezTo>
                <a:cubicBezTo>
                  <a:pt x="408" y="294"/>
                  <a:pt x="408" y="294"/>
                  <a:pt x="408" y="295"/>
                </a:cubicBezTo>
                <a:cubicBezTo>
                  <a:pt x="408" y="301"/>
                  <a:pt x="408" y="301"/>
                  <a:pt x="408" y="301"/>
                </a:cubicBezTo>
                <a:cubicBezTo>
                  <a:pt x="413" y="303"/>
                  <a:pt x="413" y="303"/>
                  <a:pt x="413" y="303"/>
                </a:cubicBezTo>
                <a:cubicBezTo>
                  <a:pt x="413" y="308"/>
                  <a:pt x="413" y="308"/>
                  <a:pt x="413" y="308"/>
                </a:cubicBezTo>
                <a:cubicBezTo>
                  <a:pt x="410" y="308"/>
                  <a:pt x="410" y="308"/>
                  <a:pt x="410" y="308"/>
                </a:cubicBezTo>
                <a:cubicBezTo>
                  <a:pt x="410" y="310"/>
                  <a:pt x="410" y="310"/>
                  <a:pt x="410" y="310"/>
                </a:cubicBezTo>
                <a:cubicBezTo>
                  <a:pt x="422" y="317"/>
                  <a:pt x="422" y="317"/>
                  <a:pt x="422" y="317"/>
                </a:cubicBezTo>
                <a:cubicBezTo>
                  <a:pt x="425" y="317"/>
                  <a:pt x="425" y="317"/>
                  <a:pt x="425" y="317"/>
                </a:cubicBezTo>
                <a:cubicBezTo>
                  <a:pt x="426" y="316"/>
                  <a:pt x="426" y="316"/>
                  <a:pt x="426" y="316"/>
                </a:cubicBezTo>
                <a:cubicBezTo>
                  <a:pt x="433" y="316"/>
                  <a:pt x="433" y="316"/>
                  <a:pt x="433" y="316"/>
                </a:cubicBezTo>
                <a:cubicBezTo>
                  <a:pt x="439" y="323"/>
                  <a:pt x="439" y="323"/>
                  <a:pt x="439" y="323"/>
                </a:cubicBezTo>
                <a:cubicBezTo>
                  <a:pt x="461" y="332"/>
                  <a:pt x="461" y="332"/>
                  <a:pt x="461" y="332"/>
                </a:cubicBezTo>
                <a:cubicBezTo>
                  <a:pt x="464" y="333"/>
                  <a:pt x="464" y="333"/>
                  <a:pt x="464" y="333"/>
                </a:cubicBezTo>
                <a:cubicBezTo>
                  <a:pt x="465" y="336"/>
                  <a:pt x="465" y="336"/>
                  <a:pt x="465" y="336"/>
                </a:cubicBezTo>
                <a:cubicBezTo>
                  <a:pt x="473" y="335"/>
                  <a:pt x="473" y="335"/>
                  <a:pt x="473" y="335"/>
                </a:cubicBezTo>
                <a:cubicBezTo>
                  <a:pt x="473" y="335"/>
                  <a:pt x="473" y="335"/>
                  <a:pt x="473" y="335"/>
                </a:cubicBezTo>
                <a:cubicBezTo>
                  <a:pt x="473" y="336"/>
                  <a:pt x="473" y="336"/>
                  <a:pt x="473" y="336"/>
                </a:cubicBezTo>
                <a:cubicBezTo>
                  <a:pt x="474" y="336"/>
                  <a:pt x="474" y="336"/>
                  <a:pt x="474" y="336"/>
                </a:cubicBezTo>
                <a:cubicBezTo>
                  <a:pt x="478" y="339"/>
                  <a:pt x="478" y="339"/>
                  <a:pt x="478" y="339"/>
                </a:cubicBezTo>
                <a:cubicBezTo>
                  <a:pt x="485" y="337"/>
                  <a:pt x="485" y="337"/>
                  <a:pt x="485" y="337"/>
                </a:cubicBezTo>
                <a:cubicBezTo>
                  <a:pt x="486" y="333"/>
                  <a:pt x="486" y="333"/>
                  <a:pt x="486" y="333"/>
                </a:cubicBezTo>
                <a:cubicBezTo>
                  <a:pt x="490" y="331"/>
                  <a:pt x="490" y="331"/>
                  <a:pt x="490" y="331"/>
                </a:cubicBezTo>
                <a:cubicBezTo>
                  <a:pt x="488" y="343"/>
                  <a:pt x="488" y="343"/>
                  <a:pt x="488" y="343"/>
                </a:cubicBezTo>
                <a:cubicBezTo>
                  <a:pt x="489" y="344"/>
                  <a:pt x="489" y="344"/>
                  <a:pt x="489" y="344"/>
                </a:cubicBezTo>
                <a:cubicBezTo>
                  <a:pt x="489" y="346"/>
                  <a:pt x="489" y="346"/>
                  <a:pt x="489" y="346"/>
                </a:cubicBezTo>
                <a:cubicBezTo>
                  <a:pt x="487" y="347"/>
                  <a:pt x="487" y="347"/>
                  <a:pt x="487" y="347"/>
                </a:cubicBezTo>
                <a:cubicBezTo>
                  <a:pt x="487" y="352"/>
                  <a:pt x="487" y="352"/>
                  <a:pt x="487" y="352"/>
                </a:cubicBezTo>
                <a:cubicBezTo>
                  <a:pt x="490" y="355"/>
                  <a:pt x="490" y="355"/>
                  <a:pt x="490" y="355"/>
                </a:cubicBezTo>
                <a:cubicBezTo>
                  <a:pt x="490" y="358"/>
                  <a:pt x="490" y="358"/>
                  <a:pt x="490" y="358"/>
                </a:cubicBezTo>
                <a:cubicBezTo>
                  <a:pt x="498" y="359"/>
                  <a:pt x="498" y="359"/>
                  <a:pt x="498" y="359"/>
                </a:cubicBezTo>
                <a:cubicBezTo>
                  <a:pt x="500" y="357"/>
                  <a:pt x="500" y="357"/>
                  <a:pt x="500" y="357"/>
                </a:cubicBezTo>
                <a:cubicBezTo>
                  <a:pt x="504" y="358"/>
                  <a:pt x="504" y="358"/>
                  <a:pt x="504" y="358"/>
                </a:cubicBezTo>
                <a:cubicBezTo>
                  <a:pt x="506" y="360"/>
                  <a:pt x="506" y="360"/>
                  <a:pt x="506" y="360"/>
                </a:cubicBezTo>
                <a:cubicBezTo>
                  <a:pt x="508" y="360"/>
                  <a:pt x="508" y="360"/>
                  <a:pt x="508" y="360"/>
                </a:cubicBezTo>
                <a:cubicBezTo>
                  <a:pt x="510" y="361"/>
                  <a:pt x="510" y="361"/>
                  <a:pt x="510" y="361"/>
                </a:cubicBezTo>
                <a:cubicBezTo>
                  <a:pt x="513" y="361"/>
                  <a:pt x="513" y="361"/>
                  <a:pt x="513" y="361"/>
                </a:cubicBezTo>
                <a:cubicBezTo>
                  <a:pt x="516" y="358"/>
                  <a:pt x="516" y="358"/>
                  <a:pt x="516" y="358"/>
                </a:cubicBezTo>
                <a:cubicBezTo>
                  <a:pt x="520" y="359"/>
                  <a:pt x="520" y="359"/>
                  <a:pt x="520" y="359"/>
                </a:cubicBezTo>
                <a:cubicBezTo>
                  <a:pt x="521" y="361"/>
                  <a:pt x="521" y="361"/>
                  <a:pt x="521" y="361"/>
                </a:cubicBezTo>
                <a:cubicBezTo>
                  <a:pt x="524" y="363"/>
                  <a:pt x="524" y="363"/>
                  <a:pt x="524" y="363"/>
                </a:cubicBezTo>
                <a:cubicBezTo>
                  <a:pt x="527" y="363"/>
                  <a:pt x="527" y="363"/>
                  <a:pt x="527" y="363"/>
                </a:cubicBezTo>
                <a:cubicBezTo>
                  <a:pt x="531" y="365"/>
                  <a:pt x="531" y="365"/>
                  <a:pt x="531" y="365"/>
                </a:cubicBezTo>
                <a:cubicBezTo>
                  <a:pt x="538" y="371"/>
                  <a:pt x="538" y="371"/>
                  <a:pt x="538" y="371"/>
                </a:cubicBezTo>
                <a:cubicBezTo>
                  <a:pt x="539" y="373"/>
                  <a:pt x="539" y="373"/>
                  <a:pt x="539" y="373"/>
                </a:cubicBezTo>
                <a:cubicBezTo>
                  <a:pt x="542" y="375"/>
                  <a:pt x="542" y="375"/>
                  <a:pt x="542" y="375"/>
                </a:cubicBezTo>
                <a:cubicBezTo>
                  <a:pt x="542" y="379"/>
                  <a:pt x="542" y="379"/>
                  <a:pt x="542" y="379"/>
                </a:cubicBezTo>
                <a:cubicBezTo>
                  <a:pt x="538" y="381"/>
                  <a:pt x="538" y="381"/>
                  <a:pt x="538" y="381"/>
                </a:cubicBezTo>
                <a:cubicBezTo>
                  <a:pt x="538" y="383"/>
                  <a:pt x="538" y="383"/>
                  <a:pt x="538" y="383"/>
                </a:cubicBezTo>
                <a:cubicBezTo>
                  <a:pt x="535" y="385"/>
                  <a:pt x="535" y="385"/>
                  <a:pt x="535" y="385"/>
                </a:cubicBezTo>
                <a:cubicBezTo>
                  <a:pt x="534" y="388"/>
                  <a:pt x="534" y="388"/>
                  <a:pt x="534" y="388"/>
                </a:cubicBezTo>
                <a:cubicBezTo>
                  <a:pt x="531" y="390"/>
                  <a:pt x="531" y="390"/>
                  <a:pt x="531" y="390"/>
                </a:cubicBezTo>
                <a:cubicBezTo>
                  <a:pt x="530" y="387"/>
                  <a:pt x="530" y="387"/>
                  <a:pt x="530" y="387"/>
                </a:cubicBezTo>
                <a:cubicBezTo>
                  <a:pt x="530" y="387"/>
                  <a:pt x="529" y="387"/>
                  <a:pt x="529" y="388"/>
                </a:cubicBezTo>
                <a:cubicBezTo>
                  <a:pt x="528" y="389"/>
                  <a:pt x="528" y="389"/>
                  <a:pt x="528" y="390"/>
                </a:cubicBezTo>
                <a:cubicBezTo>
                  <a:pt x="526" y="391"/>
                  <a:pt x="526" y="391"/>
                  <a:pt x="526" y="391"/>
                </a:cubicBezTo>
                <a:cubicBezTo>
                  <a:pt x="519" y="391"/>
                  <a:pt x="519" y="391"/>
                  <a:pt x="519" y="391"/>
                </a:cubicBezTo>
                <a:cubicBezTo>
                  <a:pt x="517" y="393"/>
                  <a:pt x="517" y="393"/>
                  <a:pt x="517" y="393"/>
                </a:cubicBezTo>
                <a:cubicBezTo>
                  <a:pt x="513" y="394"/>
                  <a:pt x="513" y="394"/>
                  <a:pt x="513" y="394"/>
                </a:cubicBezTo>
                <a:cubicBezTo>
                  <a:pt x="510" y="391"/>
                  <a:pt x="510" y="391"/>
                  <a:pt x="510" y="391"/>
                </a:cubicBezTo>
                <a:cubicBezTo>
                  <a:pt x="507" y="393"/>
                  <a:pt x="504" y="395"/>
                  <a:pt x="501" y="398"/>
                </a:cubicBezTo>
                <a:cubicBezTo>
                  <a:pt x="500" y="399"/>
                  <a:pt x="500" y="400"/>
                  <a:pt x="499" y="401"/>
                </a:cubicBezTo>
                <a:cubicBezTo>
                  <a:pt x="495" y="401"/>
                  <a:pt x="495" y="401"/>
                  <a:pt x="495" y="401"/>
                </a:cubicBezTo>
                <a:cubicBezTo>
                  <a:pt x="492" y="399"/>
                  <a:pt x="492" y="399"/>
                  <a:pt x="492" y="399"/>
                </a:cubicBezTo>
                <a:cubicBezTo>
                  <a:pt x="491" y="401"/>
                  <a:pt x="491" y="401"/>
                  <a:pt x="491" y="401"/>
                </a:cubicBezTo>
                <a:cubicBezTo>
                  <a:pt x="482" y="409"/>
                  <a:pt x="482" y="409"/>
                  <a:pt x="482" y="409"/>
                </a:cubicBezTo>
                <a:cubicBezTo>
                  <a:pt x="479" y="410"/>
                  <a:pt x="479" y="410"/>
                  <a:pt x="479" y="410"/>
                </a:cubicBezTo>
                <a:cubicBezTo>
                  <a:pt x="479" y="414"/>
                  <a:pt x="479" y="414"/>
                  <a:pt x="479" y="414"/>
                </a:cubicBezTo>
                <a:cubicBezTo>
                  <a:pt x="478" y="415"/>
                  <a:pt x="478" y="415"/>
                  <a:pt x="477" y="415"/>
                </a:cubicBezTo>
                <a:cubicBezTo>
                  <a:pt x="484" y="434"/>
                  <a:pt x="484" y="434"/>
                  <a:pt x="484" y="434"/>
                </a:cubicBezTo>
                <a:cubicBezTo>
                  <a:pt x="486" y="437"/>
                  <a:pt x="486" y="437"/>
                  <a:pt x="486" y="437"/>
                </a:cubicBezTo>
                <a:cubicBezTo>
                  <a:pt x="483" y="442"/>
                  <a:pt x="483" y="442"/>
                  <a:pt x="483" y="442"/>
                </a:cubicBezTo>
                <a:cubicBezTo>
                  <a:pt x="480" y="449"/>
                  <a:pt x="478" y="456"/>
                  <a:pt x="479" y="463"/>
                </a:cubicBezTo>
                <a:cubicBezTo>
                  <a:pt x="480" y="465"/>
                  <a:pt x="480" y="465"/>
                  <a:pt x="480" y="465"/>
                </a:cubicBezTo>
                <a:cubicBezTo>
                  <a:pt x="489" y="465"/>
                  <a:pt x="489" y="465"/>
                  <a:pt x="489" y="465"/>
                </a:cubicBezTo>
                <a:cubicBezTo>
                  <a:pt x="490" y="469"/>
                  <a:pt x="490" y="469"/>
                  <a:pt x="490" y="469"/>
                </a:cubicBezTo>
                <a:cubicBezTo>
                  <a:pt x="489" y="469"/>
                  <a:pt x="488" y="470"/>
                  <a:pt x="488" y="471"/>
                </a:cubicBezTo>
                <a:cubicBezTo>
                  <a:pt x="487" y="471"/>
                  <a:pt x="487" y="471"/>
                  <a:pt x="487" y="472"/>
                </a:cubicBezTo>
                <a:cubicBezTo>
                  <a:pt x="481" y="469"/>
                  <a:pt x="481" y="469"/>
                  <a:pt x="481" y="469"/>
                </a:cubicBezTo>
                <a:cubicBezTo>
                  <a:pt x="479" y="472"/>
                  <a:pt x="479" y="472"/>
                  <a:pt x="479" y="472"/>
                </a:cubicBezTo>
                <a:cubicBezTo>
                  <a:pt x="480" y="475"/>
                  <a:pt x="480" y="475"/>
                  <a:pt x="480" y="475"/>
                </a:cubicBezTo>
                <a:cubicBezTo>
                  <a:pt x="477" y="476"/>
                  <a:pt x="477" y="476"/>
                  <a:pt x="477" y="476"/>
                </a:cubicBezTo>
                <a:cubicBezTo>
                  <a:pt x="475" y="476"/>
                  <a:pt x="475" y="476"/>
                  <a:pt x="475" y="476"/>
                </a:cubicBezTo>
                <a:cubicBezTo>
                  <a:pt x="470" y="479"/>
                  <a:pt x="470" y="479"/>
                  <a:pt x="470" y="479"/>
                </a:cubicBezTo>
                <a:cubicBezTo>
                  <a:pt x="470" y="481"/>
                  <a:pt x="470" y="481"/>
                  <a:pt x="470" y="481"/>
                </a:cubicBezTo>
                <a:cubicBezTo>
                  <a:pt x="465" y="484"/>
                  <a:pt x="465" y="484"/>
                  <a:pt x="465" y="484"/>
                </a:cubicBezTo>
                <a:cubicBezTo>
                  <a:pt x="465" y="484"/>
                  <a:pt x="466" y="485"/>
                  <a:pt x="466" y="485"/>
                </a:cubicBezTo>
                <a:cubicBezTo>
                  <a:pt x="465" y="485"/>
                  <a:pt x="465" y="485"/>
                  <a:pt x="465" y="485"/>
                </a:cubicBezTo>
                <a:cubicBezTo>
                  <a:pt x="465" y="485"/>
                  <a:pt x="464" y="485"/>
                  <a:pt x="464" y="485"/>
                </a:cubicBezTo>
                <a:cubicBezTo>
                  <a:pt x="458" y="492"/>
                  <a:pt x="458" y="492"/>
                  <a:pt x="458" y="492"/>
                </a:cubicBezTo>
                <a:cubicBezTo>
                  <a:pt x="460" y="494"/>
                  <a:pt x="460" y="495"/>
                  <a:pt x="458" y="495"/>
                </a:cubicBezTo>
                <a:cubicBezTo>
                  <a:pt x="457" y="495"/>
                  <a:pt x="457" y="495"/>
                  <a:pt x="456" y="495"/>
                </a:cubicBezTo>
                <a:cubicBezTo>
                  <a:pt x="446" y="504"/>
                  <a:pt x="446" y="504"/>
                  <a:pt x="446" y="504"/>
                </a:cubicBezTo>
                <a:cubicBezTo>
                  <a:pt x="444" y="508"/>
                  <a:pt x="444" y="508"/>
                  <a:pt x="444" y="508"/>
                </a:cubicBezTo>
                <a:cubicBezTo>
                  <a:pt x="443" y="511"/>
                  <a:pt x="443" y="511"/>
                  <a:pt x="443" y="511"/>
                </a:cubicBezTo>
                <a:cubicBezTo>
                  <a:pt x="441" y="509"/>
                  <a:pt x="441" y="509"/>
                  <a:pt x="441" y="509"/>
                </a:cubicBezTo>
                <a:cubicBezTo>
                  <a:pt x="437" y="512"/>
                  <a:pt x="437" y="512"/>
                  <a:pt x="437" y="512"/>
                </a:cubicBezTo>
                <a:cubicBezTo>
                  <a:pt x="435" y="516"/>
                  <a:pt x="435" y="516"/>
                  <a:pt x="435" y="516"/>
                </a:cubicBezTo>
                <a:cubicBezTo>
                  <a:pt x="435" y="516"/>
                  <a:pt x="435" y="515"/>
                  <a:pt x="434" y="515"/>
                </a:cubicBezTo>
                <a:cubicBezTo>
                  <a:pt x="434" y="515"/>
                  <a:pt x="434" y="515"/>
                  <a:pt x="433" y="515"/>
                </a:cubicBezTo>
                <a:cubicBezTo>
                  <a:pt x="433" y="516"/>
                  <a:pt x="433" y="516"/>
                  <a:pt x="434" y="517"/>
                </a:cubicBezTo>
                <a:cubicBezTo>
                  <a:pt x="433" y="517"/>
                  <a:pt x="433" y="518"/>
                  <a:pt x="433" y="518"/>
                </a:cubicBezTo>
                <a:cubicBezTo>
                  <a:pt x="432" y="519"/>
                  <a:pt x="432" y="519"/>
                  <a:pt x="431" y="519"/>
                </a:cubicBezTo>
                <a:cubicBezTo>
                  <a:pt x="429" y="522"/>
                  <a:pt x="429" y="522"/>
                  <a:pt x="429" y="522"/>
                </a:cubicBezTo>
                <a:cubicBezTo>
                  <a:pt x="435" y="529"/>
                  <a:pt x="435" y="529"/>
                  <a:pt x="435" y="529"/>
                </a:cubicBezTo>
                <a:cubicBezTo>
                  <a:pt x="436" y="535"/>
                  <a:pt x="436" y="535"/>
                  <a:pt x="436" y="535"/>
                </a:cubicBezTo>
                <a:cubicBezTo>
                  <a:pt x="424" y="545"/>
                  <a:pt x="424" y="545"/>
                  <a:pt x="424" y="545"/>
                </a:cubicBezTo>
                <a:cubicBezTo>
                  <a:pt x="424" y="546"/>
                  <a:pt x="424" y="546"/>
                  <a:pt x="424" y="546"/>
                </a:cubicBezTo>
                <a:cubicBezTo>
                  <a:pt x="394" y="555"/>
                  <a:pt x="394" y="555"/>
                  <a:pt x="394" y="555"/>
                </a:cubicBezTo>
                <a:cubicBezTo>
                  <a:pt x="386" y="581"/>
                  <a:pt x="374" y="604"/>
                  <a:pt x="359" y="626"/>
                </a:cubicBezTo>
                <a:cubicBezTo>
                  <a:pt x="318" y="645"/>
                  <a:pt x="318" y="645"/>
                  <a:pt x="318" y="645"/>
                </a:cubicBezTo>
                <a:cubicBezTo>
                  <a:pt x="306" y="667"/>
                  <a:pt x="293" y="688"/>
                  <a:pt x="280" y="709"/>
                </a:cubicBezTo>
                <a:cubicBezTo>
                  <a:pt x="251" y="717"/>
                  <a:pt x="223" y="723"/>
                  <a:pt x="194" y="728"/>
                </a:cubicBezTo>
                <a:cubicBezTo>
                  <a:pt x="189" y="720"/>
                  <a:pt x="189" y="720"/>
                  <a:pt x="189" y="720"/>
                </a:cubicBezTo>
                <a:cubicBezTo>
                  <a:pt x="187" y="713"/>
                  <a:pt x="187" y="713"/>
                  <a:pt x="187" y="713"/>
                </a:cubicBezTo>
                <a:cubicBezTo>
                  <a:pt x="180" y="705"/>
                  <a:pt x="180" y="705"/>
                  <a:pt x="180" y="705"/>
                </a:cubicBezTo>
                <a:cubicBezTo>
                  <a:pt x="158" y="705"/>
                  <a:pt x="144" y="718"/>
                  <a:pt x="138" y="741"/>
                </a:cubicBezTo>
                <a:cubicBezTo>
                  <a:pt x="132" y="745"/>
                  <a:pt x="132" y="745"/>
                  <a:pt x="132" y="745"/>
                </a:cubicBezTo>
                <a:cubicBezTo>
                  <a:pt x="108" y="759"/>
                  <a:pt x="98" y="779"/>
                  <a:pt x="100" y="804"/>
                </a:cubicBezTo>
                <a:cubicBezTo>
                  <a:pt x="121" y="815"/>
                  <a:pt x="121" y="815"/>
                  <a:pt x="121" y="815"/>
                </a:cubicBezTo>
                <a:cubicBezTo>
                  <a:pt x="144" y="815"/>
                  <a:pt x="144" y="815"/>
                  <a:pt x="144" y="815"/>
                </a:cubicBezTo>
                <a:cubicBezTo>
                  <a:pt x="148" y="817"/>
                  <a:pt x="148" y="817"/>
                  <a:pt x="148" y="817"/>
                </a:cubicBezTo>
                <a:cubicBezTo>
                  <a:pt x="151" y="833"/>
                  <a:pt x="151" y="833"/>
                  <a:pt x="151" y="833"/>
                </a:cubicBezTo>
                <a:cubicBezTo>
                  <a:pt x="141" y="851"/>
                  <a:pt x="143" y="868"/>
                  <a:pt x="157" y="883"/>
                </a:cubicBezTo>
                <a:cubicBezTo>
                  <a:pt x="165" y="887"/>
                  <a:pt x="174" y="887"/>
                  <a:pt x="182" y="883"/>
                </a:cubicBezTo>
                <a:cubicBezTo>
                  <a:pt x="188" y="887"/>
                  <a:pt x="188" y="887"/>
                  <a:pt x="188" y="887"/>
                </a:cubicBezTo>
                <a:cubicBezTo>
                  <a:pt x="187" y="908"/>
                  <a:pt x="187" y="908"/>
                  <a:pt x="187" y="908"/>
                </a:cubicBezTo>
                <a:cubicBezTo>
                  <a:pt x="203" y="927"/>
                  <a:pt x="203" y="927"/>
                  <a:pt x="203" y="927"/>
                </a:cubicBezTo>
                <a:cubicBezTo>
                  <a:pt x="206" y="940"/>
                  <a:pt x="211" y="952"/>
                  <a:pt x="219" y="963"/>
                </a:cubicBezTo>
                <a:cubicBezTo>
                  <a:pt x="216" y="965"/>
                  <a:pt x="216" y="965"/>
                  <a:pt x="216" y="965"/>
                </a:cubicBezTo>
                <a:cubicBezTo>
                  <a:pt x="214" y="966"/>
                  <a:pt x="214" y="966"/>
                  <a:pt x="214" y="966"/>
                </a:cubicBezTo>
                <a:cubicBezTo>
                  <a:pt x="212" y="971"/>
                  <a:pt x="211" y="976"/>
                  <a:pt x="212" y="981"/>
                </a:cubicBezTo>
                <a:cubicBezTo>
                  <a:pt x="212" y="981"/>
                  <a:pt x="212" y="981"/>
                  <a:pt x="212" y="982"/>
                </a:cubicBezTo>
                <a:cubicBezTo>
                  <a:pt x="220" y="983"/>
                  <a:pt x="220" y="983"/>
                  <a:pt x="220" y="983"/>
                </a:cubicBezTo>
                <a:cubicBezTo>
                  <a:pt x="222" y="985"/>
                  <a:pt x="222" y="985"/>
                  <a:pt x="222" y="985"/>
                </a:cubicBezTo>
                <a:cubicBezTo>
                  <a:pt x="218" y="986"/>
                  <a:pt x="218" y="986"/>
                  <a:pt x="218" y="986"/>
                </a:cubicBezTo>
                <a:cubicBezTo>
                  <a:pt x="215" y="989"/>
                  <a:pt x="215" y="989"/>
                  <a:pt x="215" y="989"/>
                </a:cubicBezTo>
                <a:cubicBezTo>
                  <a:pt x="212" y="988"/>
                  <a:pt x="212" y="988"/>
                  <a:pt x="212" y="988"/>
                </a:cubicBezTo>
                <a:cubicBezTo>
                  <a:pt x="202" y="994"/>
                  <a:pt x="202" y="994"/>
                  <a:pt x="202" y="994"/>
                </a:cubicBezTo>
                <a:cubicBezTo>
                  <a:pt x="205" y="995"/>
                  <a:pt x="205" y="995"/>
                  <a:pt x="205" y="995"/>
                </a:cubicBezTo>
                <a:cubicBezTo>
                  <a:pt x="204" y="997"/>
                  <a:pt x="204" y="997"/>
                  <a:pt x="204" y="997"/>
                </a:cubicBezTo>
                <a:cubicBezTo>
                  <a:pt x="200" y="998"/>
                  <a:pt x="200" y="998"/>
                  <a:pt x="200" y="998"/>
                </a:cubicBezTo>
                <a:cubicBezTo>
                  <a:pt x="192" y="1001"/>
                  <a:pt x="185" y="1001"/>
                  <a:pt x="180" y="995"/>
                </a:cubicBezTo>
                <a:cubicBezTo>
                  <a:pt x="180" y="995"/>
                  <a:pt x="180" y="995"/>
                  <a:pt x="181" y="995"/>
                </a:cubicBezTo>
                <a:cubicBezTo>
                  <a:pt x="181" y="995"/>
                  <a:pt x="181" y="995"/>
                  <a:pt x="181" y="994"/>
                </a:cubicBezTo>
                <a:cubicBezTo>
                  <a:pt x="181" y="994"/>
                  <a:pt x="180" y="993"/>
                  <a:pt x="180" y="993"/>
                </a:cubicBezTo>
                <a:cubicBezTo>
                  <a:pt x="180" y="988"/>
                  <a:pt x="180" y="988"/>
                  <a:pt x="180" y="988"/>
                </a:cubicBezTo>
                <a:cubicBezTo>
                  <a:pt x="181" y="987"/>
                  <a:pt x="182" y="986"/>
                  <a:pt x="181" y="985"/>
                </a:cubicBezTo>
                <a:cubicBezTo>
                  <a:pt x="181" y="985"/>
                  <a:pt x="180" y="984"/>
                  <a:pt x="180" y="984"/>
                </a:cubicBezTo>
                <a:cubicBezTo>
                  <a:pt x="146" y="994"/>
                  <a:pt x="146" y="994"/>
                  <a:pt x="146" y="994"/>
                </a:cubicBezTo>
                <a:cubicBezTo>
                  <a:pt x="139" y="1003"/>
                  <a:pt x="139" y="1003"/>
                  <a:pt x="139" y="1003"/>
                </a:cubicBezTo>
                <a:cubicBezTo>
                  <a:pt x="116" y="1003"/>
                  <a:pt x="116" y="1003"/>
                  <a:pt x="116" y="1003"/>
                </a:cubicBezTo>
                <a:cubicBezTo>
                  <a:pt x="106" y="994"/>
                  <a:pt x="106" y="994"/>
                  <a:pt x="106" y="994"/>
                </a:cubicBezTo>
                <a:cubicBezTo>
                  <a:pt x="98" y="996"/>
                  <a:pt x="90" y="997"/>
                  <a:pt x="82" y="995"/>
                </a:cubicBezTo>
                <a:cubicBezTo>
                  <a:pt x="78" y="997"/>
                  <a:pt x="78" y="997"/>
                  <a:pt x="78" y="997"/>
                </a:cubicBezTo>
                <a:cubicBezTo>
                  <a:pt x="77" y="999"/>
                  <a:pt x="77" y="999"/>
                  <a:pt x="77" y="999"/>
                </a:cubicBezTo>
                <a:cubicBezTo>
                  <a:pt x="70" y="995"/>
                  <a:pt x="70" y="995"/>
                  <a:pt x="70" y="995"/>
                </a:cubicBezTo>
                <a:cubicBezTo>
                  <a:pt x="68" y="995"/>
                  <a:pt x="68" y="995"/>
                  <a:pt x="68" y="995"/>
                </a:cubicBezTo>
                <a:cubicBezTo>
                  <a:pt x="62" y="999"/>
                  <a:pt x="62" y="999"/>
                  <a:pt x="62" y="999"/>
                </a:cubicBezTo>
                <a:cubicBezTo>
                  <a:pt x="57" y="993"/>
                  <a:pt x="57" y="993"/>
                  <a:pt x="57" y="993"/>
                </a:cubicBezTo>
                <a:cubicBezTo>
                  <a:pt x="52" y="1001"/>
                  <a:pt x="52" y="1001"/>
                  <a:pt x="52" y="1001"/>
                </a:cubicBezTo>
                <a:cubicBezTo>
                  <a:pt x="49" y="993"/>
                  <a:pt x="49" y="993"/>
                  <a:pt x="49" y="993"/>
                </a:cubicBezTo>
                <a:cubicBezTo>
                  <a:pt x="44" y="993"/>
                  <a:pt x="44" y="993"/>
                  <a:pt x="44" y="993"/>
                </a:cubicBezTo>
                <a:cubicBezTo>
                  <a:pt x="42" y="1019"/>
                  <a:pt x="42" y="1019"/>
                  <a:pt x="42" y="1019"/>
                </a:cubicBezTo>
                <a:cubicBezTo>
                  <a:pt x="15" y="1019"/>
                  <a:pt x="15" y="1019"/>
                  <a:pt x="15" y="1019"/>
                </a:cubicBezTo>
                <a:cubicBezTo>
                  <a:pt x="14" y="1018"/>
                  <a:pt x="14" y="1018"/>
                  <a:pt x="14" y="1018"/>
                </a:cubicBezTo>
                <a:cubicBezTo>
                  <a:pt x="14" y="1018"/>
                  <a:pt x="14" y="1018"/>
                  <a:pt x="14" y="1018"/>
                </a:cubicBezTo>
                <a:cubicBezTo>
                  <a:pt x="13" y="1018"/>
                  <a:pt x="12" y="1019"/>
                  <a:pt x="12" y="1019"/>
                </a:cubicBezTo>
                <a:cubicBezTo>
                  <a:pt x="11" y="1022"/>
                  <a:pt x="11" y="1022"/>
                  <a:pt x="11" y="1022"/>
                </a:cubicBezTo>
                <a:cubicBezTo>
                  <a:pt x="7" y="1024"/>
                  <a:pt x="7" y="1024"/>
                  <a:pt x="7" y="1024"/>
                </a:cubicBezTo>
                <a:cubicBezTo>
                  <a:pt x="7" y="1025"/>
                  <a:pt x="6" y="1026"/>
                  <a:pt x="6" y="1027"/>
                </a:cubicBezTo>
                <a:cubicBezTo>
                  <a:pt x="6" y="1027"/>
                  <a:pt x="6" y="1027"/>
                  <a:pt x="6" y="1027"/>
                </a:cubicBezTo>
                <a:cubicBezTo>
                  <a:pt x="6" y="1029"/>
                  <a:pt x="6" y="1029"/>
                  <a:pt x="6" y="1029"/>
                </a:cubicBezTo>
                <a:cubicBezTo>
                  <a:pt x="2" y="1029"/>
                  <a:pt x="2" y="1029"/>
                  <a:pt x="2" y="1029"/>
                </a:cubicBezTo>
                <a:cubicBezTo>
                  <a:pt x="2" y="1033"/>
                  <a:pt x="2" y="1033"/>
                  <a:pt x="2" y="1033"/>
                </a:cubicBezTo>
                <a:cubicBezTo>
                  <a:pt x="0" y="1039"/>
                  <a:pt x="0" y="1039"/>
                  <a:pt x="0" y="1039"/>
                </a:cubicBezTo>
                <a:cubicBezTo>
                  <a:pt x="4" y="1042"/>
                  <a:pt x="4" y="1042"/>
                  <a:pt x="4" y="1042"/>
                </a:cubicBezTo>
                <a:cubicBezTo>
                  <a:pt x="10" y="1037"/>
                  <a:pt x="10" y="1037"/>
                  <a:pt x="10" y="1037"/>
                </a:cubicBezTo>
                <a:cubicBezTo>
                  <a:pt x="11" y="1038"/>
                  <a:pt x="11" y="1038"/>
                  <a:pt x="10" y="1039"/>
                </a:cubicBezTo>
                <a:cubicBezTo>
                  <a:pt x="9" y="1039"/>
                  <a:pt x="9" y="1039"/>
                  <a:pt x="8" y="1039"/>
                </a:cubicBezTo>
                <a:cubicBezTo>
                  <a:pt x="8" y="1041"/>
                  <a:pt x="8" y="1041"/>
                  <a:pt x="8" y="1041"/>
                </a:cubicBezTo>
                <a:cubicBezTo>
                  <a:pt x="6" y="1043"/>
                  <a:pt x="6" y="1043"/>
                  <a:pt x="6" y="1043"/>
                </a:cubicBezTo>
                <a:cubicBezTo>
                  <a:pt x="5" y="1044"/>
                  <a:pt x="4" y="1044"/>
                  <a:pt x="4" y="1044"/>
                </a:cubicBezTo>
                <a:cubicBezTo>
                  <a:pt x="5" y="1044"/>
                  <a:pt x="5" y="1044"/>
                  <a:pt x="5" y="1044"/>
                </a:cubicBezTo>
                <a:cubicBezTo>
                  <a:pt x="7" y="1047"/>
                  <a:pt x="7" y="1047"/>
                  <a:pt x="7" y="1047"/>
                </a:cubicBezTo>
                <a:cubicBezTo>
                  <a:pt x="6" y="1050"/>
                  <a:pt x="6" y="1050"/>
                  <a:pt x="6" y="1050"/>
                </a:cubicBezTo>
                <a:cubicBezTo>
                  <a:pt x="14" y="1047"/>
                  <a:pt x="14" y="1047"/>
                  <a:pt x="14" y="1047"/>
                </a:cubicBezTo>
                <a:cubicBezTo>
                  <a:pt x="14" y="1047"/>
                  <a:pt x="14" y="1047"/>
                  <a:pt x="14" y="1047"/>
                </a:cubicBezTo>
                <a:cubicBezTo>
                  <a:pt x="14" y="1047"/>
                  <a:pt x="15" y="1047"/>
                  <a:pt x="15" y="1047"/>
                </a:cubicBezTo>
                <a:cubicBezTo>
                  <a:pt x="20" y="1037"/>
                  <a:pt x="20" y="1037"/>
                  <a:pt x="20" y="1037"/>
                </a:cubicBezTo>
                <a:cubicBezTo>
                  <a:pt x="22" y="1037"/>
                  <a:pt x="22" y="1037"/>
                  <a:pt x="22" y="1037"/>
                </a:cubicBezTo>
                <a:cubicBezTo>
                  <a:pt x="23" y="1037"/>
                  <a:pt x="23" y="1037"/>
                  <a:pt x="23" y="1037"/>
                </a:cubicBezTo>
                <a:cubicBezTo>
                  <a:pt x="24" y="1036"/>
                  <a:pt x="24" y="1036"/>
                  <a:pt x="24" y="1036"/>
                </a:cubicBezTo>
                <a:cubicBezTo>
                  <a:pt x="25" y="1034"/>
                  <a:pt x="26" y="1034"/>
                  <a:pt x="26" y="1037"/>
                </a:cubicBezTo>
                <a:cubicBezTo>
                  <a:pt x="36" y="1029"/>
                  <a:pt x="36" y="1029"/>
                  <a:pt x="36" y="1029"/>
                </a:cubicBezTo>
                <a:cubicBezTo>
                  <a:pt x="41" y="1029"/>
                  <a:pt x="41" y="1029"/>
                  <a:pt x="41" y="1029"/>
                </a:cubicBezTo>
                <a:cubicBezTo>
                  <a:pt x="44" y="1027"/>
                  <a:pt x="44" y="1027"/>
                  <a:pt x="44" y="1027"/>
                </a:cubicBezTo>
                <a:cubicBezTo>
                  <a:pt x="46" y="1027"/>
                  <a:pt x="45" y="1027"/>
                  <a:pt x="42" y="1029"/>
                </a:cubicBezTo>
                <a:cubicBezTo>
                  <a:pt x="42" y="1029"/>
                  <a:pt x="42" y="1029"/>
                  <a:pt x="41" y="1029"/>
                </a:cubicBezTo>
                <a:cubicBezTo>
                  <a:pt x="37" y="1033"/>
                  <a:pt x="37" y="1033"/>
                  <a:pt x="37" y="1033"/>
                </a:cubicBezTo>
                <a:cubicBezTo>
                  <a:pt x="37" y="1033"/>
                  <a:pt x="37" y="1032"/>
                  <a:pt x="37" y="1033"/>
                </a:cubicBezTo>
                <a:cubicBezTo>
                  <a:pt x="36" y="1033"/>
                  <a:pt x="35" y="1033"/>
                  <a:pt x="34" y="1033"/>
                </a:cubicBezTo>
                <a:cubicBezTo>
                  <a:pt x="34" y="1033"/>
                  <a:pt x="34" y="1033"/>
                  <a:pt x="34" y="1033"/>
                </a:cubicBezTo>
                <a:cubicBezTo>
                  <a:pt x="30" y="1038"/>
                  <a:pt x="30" y="1038"/>
                  <a:pt x="30" y="1038"/>
                </a:cubicBezTo>
                <a:cubicBezTo>
                  <a:pt x="27" y="1039"/>
                  <a:pt x="27" y="1039"/>
                  <a:pt x="27" y="1039"/>
                </a:cubicBezTo>
                <a:cubicBezTo>
                  <a:pt x="22" y="1043"/>
                  <a:pt x="22" y="1043"/>
                  <a:pt x="22" y="1043"/>
                </a:cubicBezTo>
                <a:cubicBezTo>
                  <a:pt x="21" y="1047"/>
                  <a:pt x="21" y="1047"/>
                  <a:pt x="21" y="1047"/>
                </a:cubicBezTo>
                <a:cubicBezTo>
                  <a:pt x="21" y="1047"/>
                  <a:pt x="21" y="1047"/>
                  <a:pt x="20" y="1048"/>
                </a:cubicBezTo>
                <a:cubicBezTo>
                  <a:pt x="20" y="1049"/>
                  <a:pt x="20" y="1049"/>
                  <a:pt x="20" y="1049"/>
                </a:cubicBezTo>
                <a:cubicBezTo>
                  <a:pt x="21" y="1050"/>
                  <a:pt x="21" y="1050"/>
                  <a:pt x="21" y="1050"/>
                </a:cubicBezTo>
                <a:cubicBezTo>
                  <a:pt x="20" y="1050"/>
                  <a:pt x="20" y="1050"/>
                  <a:pt x="20" y="1050"/>
                </a:cubicBezTo>
                <a:cubicBezTo>
                  <a:pt x="18" y="1051"/>
                  <a:pt x="18" y="1051"/>
                  <a:pt x="18" y="1051"/>
                </a:cubicBezTo>
                <a:cubicBezTo>
                  <a:pt x="18" y="1054"/>
                  <a:pt x="18" y="1054"/>
                  <a:pt x="18" y="1054"/>
                </a:cubicBezTo>
                <a:cubicBezTo>
                  <a:pt x="20" y="1057"/>
                  <a:pt x="20" y="1057"/>
                  <a:pt x="20" y="1057"/>
                </a:cubicBezTo>
                <a:cubicBezTo>
                  <a:pt x="16" y="1059"/>
                  <a:pt x="16" y="1059"/>
                  <a:pt x="16" y="1059"/>
                </a:cubicBezTo>
                <a:cubicBezTo>
                  <a:pt x="16" y="1062"/>
                  <a:pt x="16" y="1062"/>
                  <a:pt x="16" y="1062"/>
                </a:cubicBezTo>
                <a:cubicBezTo>
                  <a:pt x="20" y="1063"/>
                  <a:pt x="20" y="1063"/>
                  <a:pt x="20" y="1063"/>
                </a:cubicBezTo>
                <a:cubicBezTo>
                  <a:pt x="19" y="1063"/>
                  <a:pt x="19" y="1062"/>
                  <a:pt x="19" y="1062"/>
                </a:cubicBezTo>
                <a:cubicBezTo>
                  <a:pt x="20" y="1061"/>
                  <a:pt x="20" y="1062"/>
                  <a:pt x="21" y="1064"/>
                </a:cubicBezTo>
                <a:cubicBezTo>
                  <a:pt x="23" y="1061"/>
                  <a:pt x="23" y="1061"/>
                  <a:pt x="23" y="1061"/>
                </a:cubicBezTo>
                <a:cubicBezTo>
                  <a:pt x="24" y="1062"/>
                  <a:pt x="24" y="1062"/>
                  <a:pt x="24" y="1063"/>
                </a:cubicBezTo>
                <a:cubicBezTo>
                  <a:pt x="24" y="1063"/>
                  <a:pt x="24" y="1063"/>
                  <a:pt x="24" y="1063"/>
                </a:cubicBezTo>
                <a:cubicBezTo>
                  <a:pt x="24" y="1063"/>
                  <a:pt x="24" y="1063"/>
                  <a:pt x="24" y="1063"/>
                </a:cubicBezTo>
                <a:cubicBezTo>
                  <a:pt x="24" y="1064"/>
                  <a:pt x="24" y="1064"/>
                  <a:pt x="24" y="1064"/>
                </a:cubicBezTo>
                <a:cubicBezTo>
                  <a:pt x="22" y="1067"/>
                  <a:pt x="22" y="1067"/>
                  <a:pt x="22" y="1067"/>
                </a:cubicBezTo>
                <a:cubicBezTo>
                  <a:pt x="24" y="1067"/>
                  <a:pt x="24" y="1067"/>
                  <a:pt x="24" y="1067"/>
                </a:cubicBezTo>
                <a:cubicBezTo>
                  <a:pt x="25" y="1069"/>
                  <a:pt x="25" y="1069"/>
                  <a:pt x="25" y="1069"/>
                </a:cubicBezTo>
                <a:cubicBezTo>
                  <a:pt x="28" y="1067"/>
                  <a:pt x="28" y="1067"/>
                  <a:pt x="28" y="1067"/>
                </a:cubicBezTo>
                <a:cubicBezTo>
                  <a:pt x="32" y="1069"/>
                  <a:pt x="32" y="1069"/>
                  <a:pt x="32" y="1069"/>
                </a:cubicBezTo>
                <a:cubicBezTo>
                  <a:pt x="33" y="1068"/>
                  <a:pt x="33" y="1068"/>
                  <a:pt x="33" y="1068"/>
                </a:cubicBezTo>
                <a:cubicBezTo>
                  <a:pt x="32" y="1069"/>
                  <a:pt x="32" y="1069"/>
                  <a:pt x="32" y="1069"/>
                </a:cubicBezTo>
                <a:cubicBezTo>
                  <a:pt x="28" y="1070"/>
                  <a:pt x="28" y="1070"/>
                  <a:pt x="28" y="1070"/>
                </a:cubicBezTo>
                <a:cubicBezTo>
                  <a:pt x="27" y="1073"/>
                  <a:pt x="27" y="1073"/>
                  <a:pt x="27" y="1073"/>
                </a:cubicBezTo>
                <a:cubicBezTo>
                  <a:pt x="27" y="1073"/>
                  <a:pt x="27" y="1073"/>
                  <a:pt x="27" y="1073"/>
                </a:cubicBezTo>
                <a:cubicBezTo>
                  <a:pt x="27" y="1073"/>
                  <a:pt x="28" y="1074"/>
                  <a:pt x="28" y="1074"/>
                </a:cubicBezTo>
                <a:cubicBezTo>
                  <a:pt x="32" y="1074"/>
                  <a:pt x="32" y="1074"/>
                  <a:pt x="32" y="1074"/>
                </a:cubicBezTo>
                <a:cubicBezTo>
                  <a:pt x="32" y="1071"/>
                  <a:pt x="32" y="1071"/>
                  <a:pt x="32" y="1071"/>
                </a:cubicBezTo>
                <a:cubicBezTo>
                  <a:pt x="35" y="1074"/>
                  <a:pt x="35" y="1074"/>
                  <a:pt x="35" y="1074"/>
                </a:cubicBezTo>
                <a:cubicBezTo>
                  <a:pt x="32" y="1076"/>
                  <a:pt x="32" y="1076"/>
                  <a:pt x="32" y="1076"/>
                </a:cubicBezTo>
                <a:cubicBezTo>
                  <a:pt x="30" y="1075"/>
                  <a:pt x="30" y="1075"/>
                  <a:pt x="30" y="1075"/>
                </a:cubicBezTo>
                <a:cubicBezTo>
                  <a:pt x="34" y="1079"/>
                  <a:pt x="34" y="1079"/>
                  <a:pt x="34" y="1079"/>
                </a:cubicBezTo>
                <a:cubicBezTo>
                  <a:pt x="34" y="1079"/>
                  <a:pt x="34" y="1079"/>
                  <a:pt x="35" y="1079"/>
                </a:cubicBezTo>
                <a:cubicBezTo>
                  <a:pt x="35" y="1079"/>
                  <a:pt x="35" y="1080"/>
                  <a:pt x="34" y="1080"/>
                </a:cubicBezTo>
                <a:cubicBezTo>
                  <a:pt x="39" y="1082"/>
                  <a:pt x="39" y="1082"/>
                  <a:pt x="39" y="1082"/>
                </a:cubicBezTo>
                <a:cubicBezTo>
                  <a:pt x="41" y="1082"/>
                  <a:pt x="41" y="1082"/>
                  <a:pt x="41" y="1082"/>
                </a:cubicBezTo>
                <a:cubicBezTo>
                  <a:pt x="39" y="1082"/>
                  <a:pt x="39" y="1082"/>
                  <a:pt x="39" y="1082"/>
                </a:cubicBezTo>
                <a:cubicBezTo>
                  <a:pt x="37" y="1082"/>
                  <a:pt x="37" y="1082"/>
                  <a:pt x="37" y="1082"/>
                </a:cubicBezTo>
                <a:cubicBezTo>
                  <a:pt x="41" y="1086"/>
                  <a:pt x="41" y="1086"/>
                  <a:pt x="41" y="1086"/>
                </a:cubicBezTo>
                <a:cubicBezTo>
                  <a:pt x="44" y="1085"/>
                  <a:pt x="44" y="1085"/>
                  <a:pt x="44" y="1085"/>
                </a:cubicBezTo>
                <a:cubicBezTo>
                  <a:pt x="42" y="1087"/>
                  <a:pt x="42" y="1087"/>
                  <a:pt x="42" y="1087"/>
                </a:cubicBezTo>
                <a:cubicBezTo>
                  <a:pt x="50" y="1091"/>
                  <a:pt x="50" y="1091"/>
                  <a:pt x="50" y="1091"/>
                </a:cubicBezTo>
                <a:cubicBezTo>
                  <a:pt x="50" y="1089"/>
                  <a:pt x="50" y="1089"/>
                  <a:pt x="50" y="1089"/>
                </a:cubicBezTo>
                <a:cubicBezTo>
                  <a:pt x="51" y="1092"/>
                  <a:pt x="51" y="1092"/>
                  <a:pt x="51" y="1092"/>
                </a:cubicBezTo>
                <a:cubicBezTo>
                  <a:pt x="62" y="1101"/>
                  <a:pt x="74" y="1106"/>
                  <a:pt x="88" y="1107"/>
                </a:cubicBezTo>
                <a:cubicBezTo>
                  <a:pt x="99" y="1112"/>
                  <a:pt x="99" y="1112"/>
                  <a:pt x="99" y="1112"/>
                </a:cubicBezTo>
                <a:cubicBezTo>
                  <a:pt x="98" y="1110"/>
                  <a:pt x="98" y="1110"/>
                  <a:pt x="98" y="1110"/>
                </a:cubicBezTo>
                <a:cubicBezTo>
                  <a:pt x="96" y="1111"/>
                  <a:pt x="96" y="1111"/>
                  <a:pt x="97" y="1110"/>
                </a:cubicBezTo>
                <a:cubicBezTo>
                  <a:pt x="97" y="1110"/>
                  <a:pt x="98" y="1110"/>
                  <a:pt x="98" y="1110"/>
                </a:cubicBezTo>
                <a:cubicBezTo>
                  <a:pt x="99" y="1111"/>
                  <a:pt x="99" y="1111"/>
                  <a:pt x="99" y="1111"/>
                </a:cubicBezTo>
                <a:cubicBezTo>
                  <a:pt x="100" y="1110"/>
                  <a:pt x="100" y="1110"/>
                  <a:pt x="100" y="1110"/>
                </a:cubicBezTo>
                <a:cubicBezTo>
                  <a:pt x="103" y="1111"/>
                  <a:pt x="103" y="1111"/>
                  <a:pt x="103" y="1111"/>
                </a:cubicBezTo>
                <a:cubicBezTo>
                  <a:pt x="106" y="1113"/>
                  <a:pt x="106" y="1113"/>
                  <a:pt x="106" y="1113"/>
                </a:cubicBezTo>
                <a:cubicBezTo>
                  <a:pt x="109" y="1113"/>
                  <a:pt x="109" y="1113"/>
                  <a:pt x="109" y="1113"/>
                </a:cubicBezTo>
                <a:cubicBezTo>
                  <a:pt x="110" y="1112"/>
                  <a:pt x="110" y="1112"/>
                  <a:pt x="110" y="1112"/>
                </a:cubicBezTo>
                <a:cubicBezTo>
                  <a:pt x="108" y="1111"/>
                  <a:pt x="108" y="1111"/>
                  <a:pt x="110" y="1111"/>
                </a:cubicBezTo>
                <a:cubicBezTo>
                  <a:pt x="110" y="1111"/>
                  <a:pt x="110" y="1111"/>
                  <a:pt x="110" y="1112"/>
                </a:cubicBezTo>
                <a:cubicBezTo>
                  <a:pt x="111" y="1113"/>
                  <a:pt x="111" y="1113"/>
                  <a:pt x="111" y="1113"/>
                </a:cubicBezTo>
                <a:cubicBezTo>
                  <a:pt x="115" y="1114"/>
                  <a:pt x="115" y="1114"/>
                  <a:pt x="115" y="1114"/>
                </a:cubicBezTo>
                <a:cubicBezTo>
                  <a:pt x="114" y="1113"/>
                  <a:pt x="114" y="1113"/>
                  <a:pt x="114" y="1113"/>
                </a:cubicBezTo>
                <a:cubicBezTo>
                  <a:pt x="114" y="1113"/>
                  <a:pt x="114" y="1113"/>
                  <a:pt x="114" y="1113"/>
                </a:cubicBezTo>
                <a:cubicBezTo>
                  <a:pt x="115" y="1113"/>
                  <a:pt x="115" y="1113"/>
                  <a:pt x="115" y="1113"/>
                </a:cubicBezTo>
                <a:cubicBezTo>
                  <a:pt x="117" y="1110"/>
                  <a:pt x="117" y="1110"/>
                  <a:pt x="117" y="1110"/>
                </a:cubicBezTo>
                <a:cubicBezTo>
                  <a:pt x="121" y="1108"/>
                  <a:pt x="121" y="1108"/>
                  <a:pt x="121" y="1108"/>
                </a:cubicBezTo>
                <a:cubicBezTo>
                  <a:pt x="122" y="1107"/>
                  <a:pt x="122" y="1107"/>
                  <a:pt x="122" y="1107"/>
                </a:cubicBezTo>
                <a:cubicBezTo>
                  <a:pt x="126" y="1105"/>
                  <a:pt x="126" y="1105"/>
                  <a:pt x="126" y="1105"/>
                </a:cubicBezTo>
                <a:cubicBezTo>
                  <a:pt x="134" y="1103"/>
                  <a:pt x="134" y="1103"/>
                  <a:pt x="134" y="1103"/>
                </a:cubicBezTo>
                <a:cubicBezTo>
                  <a:pt x="144" y="1102"/>
                  <a:pt x="144" y="1102"/>
                  <a:pt x="144" y="1102"/>
                </a:cubicBezTo>
                <a:cubicBezTo>
                  <a:pt x="145" y="1100"/>
                  <a:pt x="145" y="1100"/>
                  <a:pt x="145" y="1100"/>
                </a:cubicBezTo>
                <a:cubicBezTo>
                  <a:pt x="148" y="1099"/>
                  <a:pt x="148" y="1099"/>
                  <a:pt x="146" y="1098"/>
                </a:cubicBezTo>
                <a:cubicBezTo>
                  <a:pt x="144" y="1097"/>
                  <a:pt x="145" y="1096"/>
                  <a:pt x="147" y="1095"/>
                </a:cubicBezTo>
                <a:cubicBezTo>
                  <a:pt x="147" y="1096"/>
                  <a:pt x="147" y="1096"/>
                  <a:pt x="147" y="1096"/>
                </a:cubicBezTo>
                <a:cubicBezTo>
                  <a:pt x="146" y="1097"/>
                  <a:pt x="146" y="1098"/>
                  <a:pt x="148" y="1099"/>
                </a:cubicBezTo>
                <a:cubicBezTo>
                  <a:pt x="148" y="1099"/>
                  <a:pt x="148" y="1099"/>
                  <a:pt x="148" y="1099"/>
                </a:cubicBezTo>
                <a:cubicBezTo>
                  <a:pt x="154" y="1098"/>
                  <a:pt x="154" y="1098"/>
                  <a:pt x="154" y="1098"/>
                </a:cubicBezTo>
                <a:cubicBezTo>
                  <a:pt x="154" y="1096"/>
                  <a:pt x="154" y="1096"/>
                  <a:pt x="154" y="1096"/>
                </a:cubicBezTo>
                <a:cubicBezTo>
                  <a:pt x="157" y="1098"/>
                  <a:pt x="157" y="1098"/>
                  <a:pt x="157" y="1098"/>
                </a:cubicBezTo>
                <a:cubicBezTo>
                  <a:pt x="164" y="1095"/>
                  <a:pt x="164" y="1095"/>
                  <a:pt x="164" y="1095"/>
                </a:cubicBezTo>
                <a:cubicBezTo>
                  <a:pt x="165" y="1094"/>
                  <a:pt x="166" y="1094"/>
                  <a:pt x="166" y="1093"/>
                </a:cubicBezTo>
                <a:cubicBezTo>
                  <a:pt x="166" y="1093"/>
                  <a:pt x="166" y="1093"/>
                  <a:pt x="165" y="1092"/>
                </a:cubicBezTo>
                <a:cubicBezTo>
                  <a:pt x="165" y="1092"/>
                  <a:pt x="165" y="1092"/>
                  <a:pt x="165" y="1092"/>
                </a:cubicBezTo>
                <a:cubicBezTo>
                  <a:pt x="164" y="1091"/>
                  <a:pt x="164" y="1091"/>
                  <a:pt x="164" y="1091"/>
                </a:cubicBezTo>
                <a:cubicBezTo>
                  <a:pt x="165" y="1090"/>
                  <a:pt x="165" y="1090"/>
                  <a:pt x="165" y="1090"/>
                </a:cubicBezTo>
                <a:cubicBezTo>
                  <a:pt x="165" y="1089"/>
                  <a:pt x="165" y="1089"/>
                  <a:pt x="165" y="1089"/>
                </a:cubicBezTo>
                <a:cubicBezTo>
                  <a:pt x="166" y="1089"/>
                  <a:pt x="166" y="1089"/>
                  <a:pt x="166" y="1089"/>
                </a:cubicBezTo>
                <a:cubicBezTo>
                  <a:pt x="166" y="1089"/>
                  <a:pt x="166" y="1089"/>
                  <a:pt x="166" y="1089"/>
                </a:cubicBezTo>
                <a:cubicBezTo>
                  <a:pt x="166" y="1089"/>
                  <a:pt x="166" y="1089"/>
                  <a:pt x="166" y="1089"/>
                </a:cubicBezTo>
                <a:cubicBezTo>
                  <a:pt x="167" y="1091"/>
                  <a:pt x="167" y="1091"/>
                  <a:pt x="167" y="1091"/>
                </a:cubicBezTo>
                <a:cubicBezTo>
                  <a:pt x="170" y="1089"/>
                  <a:pt x="170" y="1089"/>
                  <a:pt x="170" y="1089"/>
                </a:cubicBezTo>
                <a:cubicBezTo>
                  <a:pt x="174" y="1087"/>
                  <a:pt x="174" y="1087"/>
                  <a:pt x="174" y="1087"/>
                </a:cubicBezTo>
                <a:cubicBezTo>
                  <a:pt x="171" y="1095"/>
                  <a:pt x="171" y="1095"/>
                  <a:pt x="171" y="1095"/>
                </a:cubicBezTo>
                <a:cubicBezTo>
                  <a:pt x="171" y="1096"/>
                  <a:pt x="171" y="1096"/>
                  <a:pt x="171" y="1096"/>
                </a:cubicBezTo>
                <a:cubicBezTo>
                  <a:pt x="170" y="1096"/>
                  <a:pt x="170" y="1096"/>
                  <a:pt x="170" y="1096"/>
                </a:cubicBezTo>
                <a:cubicBezTo>
                  <a:pt x="170" y="1097"/>
                  <a:pt x="170" y="1097"/>
                  <a:pt x="170" y="1097"/>
                </a:cubicBezTo>
                <a:cubicBezTo>
                  <a:pt x="169" y="1099"/>
                  <a:pt x="169" y="1099"/>
                  <a:pt x="169" y="1099"/>
                </a:cubicBezTo>
                <a:cubicBezTo>
                  <a:pt x="160" y="1110"/>
                  <a:pt x="160" y="1110"/>
                  <a:pt x="160" y="1110"/>
                </a:cubicBezTo>
                <a:cubicBezTo>
                  <a:pt x="160" y="1113"/>
                  <a:pt x="160" y="1113"/>
                  <a:pt x="160" y="1113"/>
                </a:cubicBezTo>
                <a:cubicBezTo>
                  <a:pt x="157" y="1115"/>
                  <a:pt x="157" y="1115"/>
                  <a:pt x="157" y="1115"/>
                </a:cubicBezTo>
                <a:cubicBezTo>
                  <a:pt x="155" y="1117"/>
                  <a:pt x="155" y="1117"/>
                  <a:pt x="155" y="1117"/>
                </a:cubicBezTo>
                <a:cubicBezTo>
                  <a:pt x="155" y="1117"/>
                  <a:pt x="156" y="1118"/>
                  <a:pt x="157" y="1118"/>
                </a:cubicBezTo>
                <a:cubicBezTo>
                  <a:pt x="154" y="1123"/>
                  <a:pt x="154" y="1123"/>
                  <a:pt x="154" y="1123"/>
                </a:cubicBezTo>
                <a:cubicBezTo>
                  <a:pt x="152" y="1124"/>
                  <a:pt x="152" y="1124"/>
                  <a:pt x="152" y="1124"/>
                </a:cubicBezTo>
                <a:cubicBezTo>
                  <a:pt x="151" y="1128"/>
                  <a:pt x="151" y="1128"/>
                  <a:pt x="151" y="1128"/>
                </a:cubicBezTo>
                <a:cubicBezTo>
                  <a:pt x="137" y="1130"/>
                  <a:pt x="137" y="1130"/>
                  <a:pt x="137" y="1130"/>
                </a:cubicBezTo>
                <a:cubicBezTo>
                  <a:pt x="134" y="1130"/>
                  <a:pt x="134" y="1130"/>
                  <a:pt x="134" y="1130"/>
                </a:cubicBezTo>
                <a:cubicBezTo>
                  <a:pt x="134" y="1131"/>
                  <a:pt x="134" y="1131"/>
                  <a:pt x="134" y="1131"/>
                </a:cubicBezTo>
                <a:cubicBezTo>
                  <a:pt x="133" y="1131"/>
                  <a:pt x="133" y="1131"/>
                  <a:pt x="133" y="1131"/>
                </a:cubicBezTo>
                <a:cubicBezTo>
                  <a:pt x="134" y="1132"/>
                  <a:pt x="134" y="1132"/>
                  <a:pt x="134" y="1132"/>
                </a:cubicBezTo>
                <a:cubicBezTo>
                  <a:pt x="134" y="1133"/>
                  <a:pt x="134" y="1133"/>
                  <a:pt x="134" y="1133"/>
                </a:cubicBezTo>
                <a:cubicBezTo>
                  <a:pt x="131" y="1132"/>
                  <a:pt x="131" y="1132"/>
                  <a:pt x="131" y="1132"/>
                </a:cubicBezTo>
                <a:cubicBezTo>
                  <a:pt x="130" y="1135"/>
                  <a:pt x="130" y="1135"/>
                  <a:pt x="130" y="1135"/>
                </a:cubicBezTo>
                <a:cubicBezTo>
                  <a:pt x="127" y="1137"/>
                  <a:pt x="127" y="1137"/>
                  <a:pt x="127" y="1137"/>
                </a:cubicBezTo>
                <a:cubicBezTo>
                  <a:pt x="124" y="1136"/>
                  <a:pt x="124" y="1136"/>
                  <a:pt x="124" y="1136"/>
                </a:cubicBezTo>
                <a:cubicBezTo>
                  <a:pt x="122" y="1140"/>
                  <a:pt x="122" y="1140"/>
                  <a:pt x="122" y="1140"/>
                </a:cubicBezTo>
                <a:cubicBezTo>
                  <a:pt x="118" y="1138"/>
                  <a:pt x="118" y="1138"/>
                  <a:pt x="118" y="1138"/>
                </a:cubicBezTo>
                <a:cubicBezTo>
                  <a:pt x="116" y="1135"/>
                  <a:pt x="116" y="1135"/>
                  <a:pt x="116" y="1135"/>
                </a:cubicBezTo>
                <a:cubicBezTo>
                  <a:pt x="115" y="1137"/>
                  <a:pt x="115" y="1137"/>
                  <a:pt x="115" y="1137"/>
                </a:cubicBezTo>
                <a:cubicBezTo>
                  <a:pt x="114" y="1137"/>
                  <a:pt x="114" y="1137"/>
                  <a:pt x="114" y="1137"/>
                </a:cubicBezTo>
                <a:cubicBezTo>
                  <a:pt x="115" y="1137"/>
                  <a:pt x="115" y="1137"/>
                  <a:pt x="115" y="1137"/>
                </a:cubicBezTo>
                <a:cubicBezTo>
                  <a:pt x="114" y="1140"/>
                  <a:pt x="114" y="1140"/>
                  <a:pt x="114" y="1140"/>
                </a:cubicBezTo>
                <a:cubicBezTo>
                  <a:pt x="111" y="1141"/>
                  <a:pt x="111" y="1141"/>
                  <a:pt x="111" y="1141"/>
                </a:cubicBezTo>
                <a:cubicBezTo>
                  <a:pt x="110" y="1144"/>
                  <a:pt x="110" y="1144"/>
                  <a:pt x="110" y="1144"/>
                </a:cubicBezTo>
                <a:cubicBezTo>
                  <a:pt x="109" y="1143"/>
                  <a:pt x="108" y="1143"/>
                  <a:pt x="108" y="1145"/>
                </a:cubicBezTo>
                <a:cubicBezTo>
                  <a:pt x="108" y="1145"/>
                  <a:pt x="108" y="1145"/>
                  <a:pt x="108" y="1145"/>
                </a:cubicBezTo>
                <a:cubicBezTo>
                  <a:pt x="106" y="1146"/>
                  <a:pt x="105" y="1145"/>
                  <a:pt x="106" y="1144"/>
                </a:cubicBezTo>
                <a:cubicBezTo>
                  <a:pt x="103" y="1143"/>
                  <a:pt x="103" y="1143"/>
                  <a:pt x="103" y="1143"/>
                </a:cubicBezTo>
                <a:cubicBezTo>
                  <a:pt x="100" y="1143"/>
                  <a:pt x="100" y="1143"/>
                  <a:pt x="100" y="1143"/>
                </a:cubicBezTo>
                <a:cubicBezTo>
                  <a:pt x="99" y="1143"/>
                  <a:pt x="99" y="1143"/>
                  <a:pt x="99" y="1143"/>
                </a:cubicBezTo>
                <a:cubicBezTo>
                  <a:pt x="98" y="1145"/>
                  <a:pt x="98" y="1145"/>
                  <a:pt x="98" y="1145"/>
                </a:cubicBezTo>
                <a:cubicBezTo>
                  <a:pt x="96" y="1147"/>
                  <a:pt x="96" y="1147"/>
                  <a:pt x="96" y="1147"/>
                </a:cubicBezTo>
                <a:cubicBezTo>
                  <a:pt x="93" y="1146"/>
                  <a:pt x="90" y="1146"/>
                  <a:pt x="86" y="1146"/>
                </a:cubicBezTo>
                <a:cubicBezTo>
                  <a:pt x="86" y="1148"/>
                  <a:pt x="86" y="1148"/>
                  <a:pt x="86" y="1148"/>
                </a:cubicBezTo>
                <a:cubicBezTo>
                  <a:pt x="78" y="1151"/>
                  <a:pt x="78" y="1151"/>
                  <a:pt x="78" y="1151"/>
                </a:cubicBezTo>
                <a:cubicBezTo>
                  <a:pt x="74" y="1149"/>
                  <a:pt x="74" y="1149"/>
                  <a:pt x="74" y="1149"/>
                </a:cubicBezTo>
                <a:cubicBezTo>
                  <a:pt x="75" y="1143"/>
                  <a:pt x="75" y="1143"/>
                  <a:pt x="75" y="1143"/>
                </a:cubicBezTo>
                <a:cubicBezTo>
                  <a:pt x="77" y="1140"/>
                  <a:pt x="77" y="1140"/>
                  <a:pt x="77" y="1140"/>
                </a:cubicBezTo>
                <a:cubicBezTo>
                  <a:pt x="76" y="1139"/>
                  <a:pt x="74" y="1139"/>
                  <a:pt x="72" y="1140"/>
                </a:cubicBezTo>
                <a:cubicBezTo>
                  <a:pt x="70" y="1140"/>
                  <a:pt x="70" y="1140"/>
                  <a:pt x="70" y="1140"/>
                </a:cubicBezTo>
                <a:cubicBezTo>
                  <a:pt x="69" y="1141"/>
                  <a:pt x="69" y="1141"/>
                  <a:pt x="69" y="1141"/>
                </a:cubicBezTo>
                <a:cubicBezTo>
                  <a:pt x="65" y="1140"/>
                  <a:pt x="65" y="1140"/>
                  <a:pt x="65" y="1140"/>
                </a:cubicBezTo>
                <a:cubicBezTo>
                  <a:pt x="65" y="1138"/>
                  <a:pt x="65" y="1138"/>
                  <a:pt x="65" y="1138"/>
                </a:cubicBezTo>
                <a:cubicBezTo>
                  <a:pt x="68" y="1135"/>
                  <a:pt x="68" y="1135"/>
                  <a:pt x="68" y="1135"/>
                </a:cubicBezTo>
                <a:cubicBezTo>
                  <a:pt x="62" y="1137"/>
                  <a:pt x="58" y="1141"/>
                  <a:pt x="57" y="1146"/>
                </a:cubicBezTo>
                <a:cubicBezTo>
                  <a:pt x="58" y="1153"/>
                  <a:pt x="58" y="1153"/>
                  <a:pt x="58" y="1153"/>
                </a:cubicBezTo>
                <a:cubicBezTo>
                  <a:pt x="77" y="1173"/>
                  <a:pt x="77" y="1173"/>
                  <a:pt x="77" y="1173"/>
                </a:cubicBezTo>
                <a:cubicBezTo>
                  <a:pt x="76" y="1172"/>
                  <a:pt x="76" y="1172"/>
                  <a:pt x="77" y="1173"/>
                </a:cubicBezTo>
                <a:cubicBezTo>
                  <a:pt x="77" y="1173"/>
                  <a:pt x="77" y="1173"/>
                  <a:pt x="77" y="1173"/>
                </a:cubicBezTo>
                <a:cubicBezTo>
                  <a:pt x="88" y="1184"/>
                  <a:pt x="88" y="1184"/>
                  <a:pt x="88" y="1184"/>
                </a:cubicBezTo>
                <a:cubicBezTo>
                  <a:pt x="90" y="1183"/>
                  <a:pt x="90" y="1183"/>
                  <a:pt x="90" y="1183"/>
                </a:cubicBezTo>
                <a:cubicBezTo>
                  <a:pt x="90" y="1183"/>
                  <a:pt x="91" y="1183"/>
                  <a:pt x="90" y="1183"/>
                </a:cubicBezTo>
                <a:cubicBezTo>
                  <a:pt x="90" y="1184"/>
                  <a:pt x="90" y="1185"/>
                  <a:pt x="90" y="1185"/>
                </a:cubicBezTo>
                <a:cubicBezTo>
                  <a:pt x="95" y="1192"/>
                  <a:pt x="101" y="1197"/>
                  <a:pt x="107" y="1199"/>
                </a:cubicBezTo>
                <a:cubicBezTo>
                  <a:pt x="107" y="1199"/>
                  <a:pt x="107" y="1199"/>
                  <a:pt x="107" y="1199"/>
                </a:cubicBezTo>
                <a:cubicBezTo>
                  <a:pt x="107" y="1199"/>
                  <a:pt x="106" y="1199"/>
                  <a:pt x="106" y="1199"/>
                </a:cubicBezTo>
                <a:cubicBezTo>
                  <a:pt x="106" y="1199"/>
                  <a:pt x="106" y="1199"/>
                  <a:pt x="106" y="1200"/>
                </a:cubicBezTo>
                <a:cubicBezTo>
                  <a:pt x="107" y="1200"/>
                  <a:pt x="107" y="1200"/>
                  <a:pt x="107" y="1200"/>
                </a:cubicBezTo>
                <a:cubicBezTo>
                  <a:pt x="148" y="1243"/>
                  <a:pt x="148" y="1243"/>
                  <a:pt x="148" y="1243"/>
                </a:cubicBezTo>
                <a:cubicBezTo>
                  <a:pt x="164" y="1257"/>
                  <a:pt x="164" y="1257"/>
                  <a:pt x="164" y="1257"/>
                </a:cubicBezTo>
                <a:cubicBezTo>
                  <a:pt x="170" y="1259"/>
                  <a:pt x="170" y="1259"/>
                  <a:pt x="170" y="1259"/>
                </a:cubicBezTo>
                <a:cubicBezTo>
                  <a:pt x="185" y="1267"/>
                  <a:pt x="185" y="1267"/>
                  <a:pt x="185" y="1267"/>
                </a:cubicBezTo>
                <a:cubicBezTo>
                  <a:pt x="188" y="1267"/>
                  <a:pt x="188" y="1267"/>
                  <a:pt x="188" y="1267"/>
                </a:cubicBezTo>
                <a:cubicBezTo>
                  <a:pt x="199" y="1273"/>
                  <a:pt x="199" y="1273"/>
                  <a:pt x="199" y="1273"/>
                </a:cubicBezTo>
                <a:cubicBezTo>
                  <a:pt x="200" y="1272"/>
                  <a:pt x="200" y="1272"/>
                  <a:pt x="200" y="1272"/>
                </a:cubicBezTo>
                <a:cubicBezTo>
                  <a:pt x="206" y="1272"/>
                  <a:pt x="206" y="1272"/>
                  <a:pt x="206" y="1272"/>
                </a:cubicBezTo>
                <a:cubicBezTo>
                  <a:pt x="211" y="1271"/>
                  <a:pt x="211" y="1271"/>
                  <a:pt x="211" y="1271"/>
                </a:cubicBezTo>
                <a:cubicBezTo>
                  <a:pt x="212" y="1271"/>
                  <a:pt x="212" y="1271"/>
                  <a:pt x="212" y="1271"/>
                </a:cubicBezTo>
                <a:cubicBezTo>
                  <a:pt x="212" y="1269"/>
                  <a:pt x="213" y="1269"/>
                  <a:pt x="215" y="1270"/>
                </a:cubicBezTo>
                <a:cubicBezTo>
                  <a:pt x="216" y="1270"/>
                  <a:pt x="216" y="1270"/>
                  <a:pt x="216" y="1270"/>
                </a:cubicBezTo>
                <a:cubicBezTo>
                  <a:pt x="220" y="1268"/>
                  <a:pt x="220" y="1268"/>
                  <a:pt x="220" y="1268"/>
                </a:cubicBezTo>
                <a:cubicBezTo>
                  <a:pt x="223" y="1268"/>
                  <a:pt x="223" y="1268"/>
                  <a:pt x="223" y="1268"/>
                </a:cubicBezTo>
                <a:cubicBezTo>
                  <a:pt x="228" y="1266"/>
                  <a:pt x="228" y="1266"/>
                  <a:pt x="228" y="1266"/>
                </a:cubicBezTo>
                <a:cubicBezTo>
                  <a:pt x="228" y="1265"/>
                  <a:pt x="229" y="1265"/>
                  <a:pt x="230" y="1265"/>
                </a:cubicBezTo>
                <a:cubicBezTo>
                  <a:pt x="230" y="1265"/>
                  <a:pt x="230" y="1264"/>
                  <a:pt x="230" y="1264"/>
                </a:cubicBezTo>
                <a:cubicBezTo>
                  <a:pt x="237" y="1261"/>
                  <a:pt x="237" y="1261"/>
                  <a:pt x="237" y="1261"/>
                </a:cubicBezTo>
                <a:cubicBezTo>
                  <a:pt x="248" y="1258"/>
                  <a:pt x="248" y="1258"/>
                  <a:pt x="248" y="1258"/>
                </a:cubicBezTo>
                <a:cubicBezTo>
                  <a:pt x="249" y="1255"/>
                  <a:pt x="249" y="1255"/>
                  <a:pt x="249" y="1255"/>
                </a:cubicBezTo>
                <a:cubicBezTo>
                  <a:pt x="252" y="1253"/>
                  <a:pt x="252" y="1253"/>
                  <a:pt x="252" y="1253"/>
                </a:cubicBezTo>
                <a:cubicBezTo>
                  <a:pt x="260" y="1251"/>
                  <a:pt x="260" y="1251"/>
                  <a:pt x="260" y="1251"/>
                </a:cubicBezTo>
                <a:cubicBezTo>
                  <a:pt x="259" y="1251"/>
                  <a:pt x="259" y="1250"/>
                  <a:pt x="260" y="1250"/>
                </a:cubicBezTo>
                <a:cubicBezTo>
                  <a:pt x="261" y="1249"/>
                  <a:pt x="262" y="1249"/>
                  <a:pt x="263" y="1249"/>
                </a:cubicBezTo>
                <a:cubicBezTo>
                  <a:pt x="266" y="1247"/>
                  <a:pt x="266" y="1247"/>
                  <a:pt x="266" y="1247"/>
                </a:cubicBezTo>
                <a:cubicBezTo>
                  <a:pt x="273" y="1246"/>
                  <a:pt x="273" y="1246"/>
                  <a:pt x="273" y="1246"/>
                </a:cubicBezTo>
                <a:cubicBezTo>
                  <a:pt x="272" y="1244"/>
                  <a:pt x="274" y="1243"/>
                  <a:pt x="277" y="1242"/>
                </a:cubicBezTo>
                <a:cubicBezTo>
                  <a:pt x="277" y="1242"/>
                  <a:pt x="278" y="1242"/>
                  <a:pt x="278" y="1242"/>
                </a:cubicBezTo>
                <a:cubicBezTo>
                  <a:pt x="280" y="1240"/>
                  <a:pt x="280" y="1240"/>
                  <a:pt x="280" y="1240"/>
                </a:cubicBezTo>
                <a:cubicBezTo>
                  <a:pt x="295" y="1233"/>
                  <a:pt x="295" y="1233"/>
                  <a:pt x="295" y="1233"/>
                </a:cubicBezTo>
                <a:cubicBezTo>
                  <a:pt x="294" y="1230"/>
                  <a:pt x="294" y="1230"/>
                  <a:pt x="294" y="1230"/>
                </a:cubicBezTo>
                <a:cubicBezTo>
                  <a:pt x="294" y="1227"/>
                  <a:pt x="294" y="1227"/>
                  <a:pt x="294" y="1227"/>
                </a:cubicBezTo>
                <a:cubicBezTo>
                  <a:pt x="294" y="1227"/>
                  <a:pt x="294" y="1227"/>
                  <a:pt x="295" y="1227"/>
                </a:cubicBezTo>
                <a:cubicBezTo>
                  <a:pt x="295" y="1227"/>
                  <a:pt x="295" y="1226"/>
                  <a:pt x="295" y="1226"/>
                </a:cubicBezTo>
                <a:cubicBezTo>
                  <a:pt x="295" y="1225"/>
                  <a:pt x="295" y="1225"/>
                  <a:pt x="295" y="1225"/>
                </a:cubicBezTo>
                <a:cubicBezTo>
                  <a:pt x="294" y="1225"/>
                  <a:pt x="294" y="1225"/>
                  <a:pt x="294" y="1225"/>
                </a:cubicBezTo>
                <a:cubicBezTo>
                  <a:pt x="295" y="1225"/>
                  <a:pt x="295" y="1225"/>
                  <a:pt x="295" y="1225"/>
                </a:cubicBezTo>
                <a:cubicBezTo>
                  <a:pt x="296" y="1226"/>
                  <a:pt x="296" y="1226"/>
                  <a:pt x="296" y="1226"/>
                </a:cubicBezTo>
                <a:cubicBezTo>
                  <a:pt x="300" y="1219"/>
                  <a:pt x="300" y="1219"/>
                  <a:pt x="300" y="1219"/>
                </a:cubicBezTo>
                <a:cubicBezTo>
                  <a:pt x="305" y="1213"/>
                  <a:pt x="308" y="1207"/>
                  <a:pt x="310" y="1201"/>
                </a:cubicBezTo>
                <a:cubicBezTo>
                  <a:pt x="309" y="1198"/>
                  <a:pt x="309" y="1198"/>
                  <a:pt x="309" y="1198"/>
                </a:cubicBezTo>
                <a:cubicBezTo>
                  <a:pt x="309" y="1196"/>
                  <a:pt x="309" y="1196"/>
                  <a:pt x="309" y="1196"/>
                </a:cubicBezTo>
                <a:cubicBezTo>
                  <a:pt x="306" y="1193"/>
                  <a:pt x="306" y="1193"/>
                  <a:pt x="306" y="1193"/>
                </a:cubicBezTo>
                <a:cubicBezTo>
                  <a:pt x="306" y="1190"/>
                  <a:pt x="306" y="1190"/>
                  <a:pt x="306" y="1190"/>
                </a:cubicBezTo>
                <a:cubicBezTo>
                  <a:pt x="303" y="1186"/>
                  <a:pt x="303" y="1186"/>
                  <a:pt x="303" y="1186"/>
                </a:cubicBezTo>
                <a:cubicBezTo>
                  <a:pt x="304" y="1186"/>
                  <a:pt x="305" y="1187"/>
                  <a:pt x="305" y="1187"/>
                </a:cubicBezTo>
                <a:cubicBezTo>
                  <a:pt x="306" y="1187"/>
                  <a:pt x="306" y="1187"/>
                  <a:pt x="306" y="1188"/>
                </a:cubicBezTo>
                <a:cubicBezTo>
                  <a:pt x="306" y="1171"/>
                  <a:pt x="306" y="1171"/>
                  <a:pt x="306" y="1171"/>
                </a:cubicBezTo>
                <a:cubicBezTo>
                  <a:pt x="310" y="1165"/>
                  <a:pt x="310" y="1165"/>
                  <a:pt x="310" y="1165"/>
                </a:cubicBezTo>
                <a:cubicBezTo>
                  <a:pt x="309" y="1165"/>
                  <a:pt x="309" y="1165"/>
                  <a:pt x="309" y="1165"/>
                </a:cubicBezTo>
                <a:cubicBezTo>
                  <a:pt x="309" y="1164"/>
                  <a:pt x="309" y="1164"/>
                  <a:pt x="309" y="1164"/>
                </a:cubicBezTo>
                <a:cubicBezTo>
                  <a:pt x="310" y="1165"/>
                  <a:pt x="310" y="1165"/>
                  <a:pt x="310" y="1165"/>
                </a:cubicBezTo>
                <a:cubicBezTo>
                  <a:pt x="312" y="1161"/>
                  <a:pt x="312" y="1161"/>
                  <a:pt x="312" y="1161"/>
                </a:cubicBezTo>
                <a:cubicBezTo>
                  <a:pt x="310" y="1157"/>
                  <a:pt x="310" y="1157"/>
                  <a:pt x="310" y="1157"/>
                </a:cubicBezTo>
                <a:cubicBezTo>
                  <a:pt x="310" y="1154"/>
                  <a:pt x="310" y="1154"/>
                  <a:pt x="310" y="1154"/>
                </a:cubicBezTo>
                <a:cubicBezTo>
                  <a:pt x="312" y="1156"/>
                  <a:pt x="312" y="1156"/>
                  <a:pt x="312" y="1156"/>
                </a:cubicBezTo>
                <a:cubicBezTo>
                  <a:pt x="313" y="1152"/>
                  <a:pt x="313" y="1152"/>
                  <a:pt x="313" y="1152"/>
                </a:cubicBezTo>
                <a:cubicBezTo>
                  <a:pt x="313" y="1151"/>
                  <a:pt x="313" y="1151"/>
                  <a:pt x="313" y="1151"/>
                </a:cubicBezTo>
                <a:cubicBezTo>
                  <a:pt x="313" y="1149"/>
                  <a:pt x="313" y="1149"/>
                  <a:pt x="313" y="1149"/>
                </a:cubicBezTo>
                <a:cubicBezTo>
                  <a:pt x="313" y="1149"/>
                  <a:pt x="313" y="1149"/>
                  <a:pt x="313" y="1149"/>
                </a:cubicBezTo>
                <a:cubicBezTo>
                  <a:pt x="313" y="1147"/>
                  <a:pt x="313" y="1148"/>
                  <a:pt x="313" y="1149"/>
                </a:cubicBezTo>
                <a:cubicBezTo>
                  <a:pt x="313" y="1150"/>
                  <a:pt x="313" y="1150"/>
                  <a:pt x="313" y="1150"/>
                </a:cubicBezTo>
                <a:cubicBezTo>
                  <a:pt x="315" y="1147"/>
                  <a:pt x="315" y="1147"/>
                  <a:pt x="315" y="1147"/>
                </a:cubicBezTo>
                <a:cubicBezTo>
                  <a:pt x="317" y="1147"/>
                  <a:pt x="317" y="1147"/>
                  <a:pt x="317" y="1147"/>
                </a:cubicBezTo>
                <a:cubicBezTo>
                  <a:pt x="316" y="1150"/>
                  <a:pt x="316" y="1150"/>
                  <a:pt x="316" y="1150"/>
                </a:cubicBezTo>
                <a:cubicBezTo>
                  <a:pt x="316" y="1157"/>
                  <a:pt x="316" y="1157"/>
                  <a:pt x="316" y="1157"/>
                </a:cubicBezTo>
                <a:cubicBezTo>
                  <a:pt x="316" y="1157"/>
                  <a:pt x="316" y="1157"/>
                  <a:pt x="316" y="1157"/>
                </a:cubicBezTo>
                <a:cubicBezTo>
                  <a:pt x="317" y="1157"/>
                  <a:pt x="317" y="1157"/>
                  <a:pt x="317" y="1157"/>
                </a:cubicBezTo>
                <a:cubicBezTo>
                  <a:pt x="316" y="1157"/>
                  <a:pt x="316" y="1157"/>
                  <a:pt x="316" y="1157"/>
                </a:cubicBezTo>
                <a:cubicBezTo>
                  <a:pt x="317" y="1160"/>
                  <a:pt x="317" y="1160"/>
                  <a:pt x="317" y="1160"/>
                </a:cubicBezTo>
                <a:cubicBezTo>
                  <a:pt x="320" y="1156"/>
                  <a:pt x="320" y="1156"/>
                  <a:pt x="320" y="1156"/>
                </a:cubicBezTo>
                <a:cubicBezTo>
                  <a:pt x="320" y="1156"/>
                  <a:pt x="320" y="1156"/>
                  <a:pt x="320" y="1156"/>
                </a:cubicBezTo>
                <a:cubicBezTo>
                  <a:pt x="320" y="1155"/>
                  <a:pt x="320" y="1155"/>
                  <a:pt x="321" y="1155"/>
                </a:cubicBezTo>
                <a:cubicBezTo>
                  <a:pt x="323" y="1155"/>
                  <a:pt x="323" y="1155"/>
                  <a:pt x="323" y="1155"/>
                </a:cubicBezTo>
                <a:cubicBezTo>
                  <a:pt x="325" y="1151"/>
                  <a:pt x="325" y="1151"/>
                  <a:pt x="325" y="1151"/>
                </a:cubicBezTo>
                <a:cubicBezTo>
                  <a:pt x="323" y="1155"/>
                  <a:pt x="323" y="1155"/>
                  <a:pt x="323" y="1155"/>
                </a:cubicBezTo>
                <a:cubicBezTo>
                  <a:pt x="325" y="1153"/>
                  <a:pt x="325" y="1153"/>
                  <a:pt x="325" y="1153"/>
                </a:cubicBezTo>
                <a:cubicBezTo>
                  <a:pt x="325" y="1153"/>
                  <a:pt x="326" y="1153"/>
                  <a:pt x="326" y="1153"/>
                </a:cubicBezTo>
                <a:cubicBezTo>
                  <a:pt x="333" y="1150"/>
                  <a:pt x="333" y="1150"/>
                  <a:pt x="333" y="1150"/>
                </a:cubicBezTo>
                <a:cubicBezTo>
                  <a:pt x="335" y="1150"/>
                  <a:pt x="335" y="1150"/>
                  <a:pt x="335" y="1150"/>
                </a:cubicBezTo>
                <a:cubicBezTo>
                  <a:pt x="336" y="1152"/>
                  <a:pt x="336" y="1152"/>
                  <a:pt x="336" y="1152"/>
                </a:cubicBezTo>
                <a:cubicBezTo>
                  <a:pt x="339" y="1153"/>
                  <a:pt x="339" y="1153"/>
                  <a:pt x="339" y="1153"/>
                </a:cubicBezTo>
                <a:cubicBezTo>
                  <a:pt x="342" y="1153"/>
                  <a:pt x="342" y="1153"/>
                  <a:pt x="342" y="1153"/>
                </a:cubicBezTo>
                <a:cubicBezTo>
                  <a:pt x="343" y="1153"/>
                  <a:pt x="344" y="1153"/>
                  <a:pt x="344" y="1154"/>
                </a:cubicBezTo>
                <a:cubicBezTo>
                  <a:pt x="344" y="1155"/>
                  <a:pt x="345" y="1155"/>
                  <a:pt x="345" y="1156"/>
                </a:cubicBezTo>
                <a:cubicBezTo>
                  <a:pt x="346" y="1156"/>
                  <a:pt x="346" y="1156"/>
                  <a:pt x="346" y="1156"/>
                </a:cubicBezTo>
                <a:cubicBezTo>
                  <a:pt x="346" y="1156"/>
                  <a:pt x="345" y="1157"/>
                  <a:pt x="345" y="1157"/>
                </a:cubicBezTo>
                <a:cubicBezTo>
                  <a:pt x="333" y="1155"/>
                  <a:pt x="333" y="1155"/>
                  <a:pt x="333" y="1155"/>
                </a:cubicBezTo>
                <a:cubicBezTo>
                  <a:pt x="329" y="1159"/>
                  <a:pt x="326" y="1165"/>
                  <a:pt x="326" y="1171"/>
                </a:cubicBezTo>
                <a:cubicBezTo>
                  <a:pt x="326" y="1175"/>
                  <a:pt x="326" y="1175"/>
                  <a:pt x="326" y="1175"/>
                </a:cubicBezTo>
                <a:cubicBezTo>
                  <a:pt x="326" y="1176"/>
                  <a:pt x="326" y="1176"/>
                  <a:pt x="326" y="1176"/>
                </a:cubicBezTo>
                <a:cubicBezTo>
                  <a:pt x="328" y="1179"/>
                  <a:pt x="328" y="1179"/>
                  <a:pt x="328" y="1179"/>
                </a:cubicBezTo>
                <a:cubicBezTo>
                  <a:pt x="336" y="1175"/>
                  <a:pt x="336" y="1175"/>
                  <a:pt x="336" y="1175"/>
                </a:cubicBezTo>
                <a:cubicBezTo>
                  <a:pt x="335" y="1174"/>
                  <a:pt x="335" y="1174"/>
                  <a:pt x="335" y="1174"/>
                </a:cubicBezTo>
                <a:cubicBezTo>
                  <a:pt x="336" y="1174"/>
                  <a:pt x="336" y="1174"/>
                  <a:pt x="336" y="1174"/>
                </a:cubicBezTo>
                <a:cubicBezTo>
                  <a:pt x="336" y="1173"/>
                  <a:pt x="336" y="1173"/>
                  <a:pt x="336" y="1173"/>
                </a:cubicBezTo>
                <a:cubicBezTo>
                  <a:pt x="336" y="1173"/>
                  <a:pt x="336" y="1173"/>
                  <a:pt x="336" y="1173"/>
                </a:cubicBezTo>
                <a:cubicBezTo>
                  <a:pt x="335" y="1171"/>
                  <a:pt x="335" y="1171"/>
                  <a:pt x="336" y="1172"/>
                </a:cubicBezTo>
                <a:cubicBezTo>
                  <a:pt x="336" y="1172"/>
                  <a:pt x="336" y="1172"/>
                  <a:pt x="336" y="1173"/>
                </a:cubicBezTo>
                <a:cubicBezTo>
                  <a:pt x="336" y="1173"/>
                  <a:pt x="336" y="1173"/>
                  <a:pt x="336" y="1173"/>
                </a:cubicBezTo>
                <a:cubicBezTo>
                  <a:pt x="336" y="1174"/>
                  <a:pt x="337" y="1174"/>
                  <a:pt x="337" y="1175"/>
                </a:cubicBezTo>
                <a:cubicBezTo>
                  <a:pt x="338" y="1175"/>
                  <a:pt x="338" y="1174"/>
                  <a:pt x="338" y="1174"/>
                </a:cubicBezTo>
                <a:cubicBezTo>
                  <a:pt x="338" y="1173"/>
                  <a:pt x="338" y="1173"/>
                  <a:pt x="338" y="1173"/>
                </a:cubicBezTo>
                <a:cubicBezTo>
                  <a:pt x="338" y="1174"/>
                  <a:pt x="338" y="1174"/>
                  <a:pt x="338" y="1174"/>
                </a:cubicBezTo>
                <a:cubicBezTo>
                  <a:pt x="340" y="1174"/>
                  <a:pt x="340" y="1174"/>
                  <a:pt x="340" y="1174"/>
                </a:cubicBezTo>
                <a:cubicBezTo>
                  <a:pt x="340" y="1173"/>
                  <a:pt x="340" y="1173"/>
                  <a:pt x="340" y="1173"/>
                </a:cubicBezTo>
                <a:cubicBezTo>
                  <a:pt x="341" y="1173"/>
                  <a:pt x="341" y="1173"/>
                  <a:pt x="341" y="1173"/>
                </a:cubicBezTo>
                <a:cubicBezTo>
                  <a:pt x="341" y="1171"/>
                  <a:pt x="341" y="1171"/>
                  <a:pt x="341" y="1171"/>
                </a:cubicBezTo>
                <a:cubicBezTo>
                  <a:pt x="342" y="1171"/>
                  <a:pt x="342" y="1171"/>
                  <a:pt x="342" y="1171"/>
                </a:cubicBezTo>
                <a:cubicBezTo>
                  <a:pt x="342" y="1171"/>
                  <a:pt x="342" y="1171"/>
                  <a:pt x="343" y="1172"/>
                </a:cubicBezTo>
                <a:cubicBezTo>
                  <a:pt x="345" y="1171"/>
                  <a:pt x="345" y="1171"/>
                  <a:pt x="345" y="1171"/>
                </a:cubicBezTo>
                <a:cubicBezTo>
                  <a:pt x="346" y="1171"/>
                  <a:pt x="346" y="1171"/>
                  <a:pt x="346" y="1171"/>
                </a:cubicBezTo>
                <a:cubicBezTo>
                  <a:pt x="345" y="1171"/>
                  <a:pt x="345" y="1171"/>
                  <a:pt x="345" y="1171"/>
                </a:cubicBezTo>
                <a:cubicBezTo>
                  <a:pt x="344" y="1173"/>
                  <a:pt x="344" y="1173"/>
                  <a:pt x="344" y="1173"/>
                </a:cubicBezTo>
                <a:cubicBezTo>
                  <a:pt x="346" y="1174"/>
                  <a:pt x="346" y="1174"/>
                  <a:pt x="346" y="1174"/>
                </a:cubicBezTo>
                <a:cubicBezTo>
                  <a:pt x="345" y="1175"/>
                  <a:pt x="345" y="1175"/>
                  <a:pt x="344" y="1175"/>
                </a:cubicBezTo>
                <a:cubicBezTo>
                  <a:pt x="341" y="1177"/>
                  <a:pt x="341" y="1177"/>
                  <a:pt x="341" y="1177"/>
                </a:cubicBezTo>
                <a:cubicBezTo>
                  <a:pt x="342" y="1178"/>
                  <a:pt x="342" y="1178"/>
                  <a:pt x="342" y="1179"/>
                </a:cubicBezTo>
                <a:cubicBezTo>
                  <a:pt x="339" y="1179"/>
                  <a:pt x="339" y="1179"/>
                  <a:pt x="339" y="1179"/>
                </a:cubicBezTo>
                <a:cubicBezTo>
                  <a:pt x="338" y="1180"/>
                  <a:pt x="338" y="1180"/>
                  <a:pt x="338" y="1180"/>
                </a:cubicBezTo>
                <a:cubicBezTo>
                  <a:pt x="336" y="1183"/>
                  <a:pt x="336" y="1183"/>
                  <a:pt x="336" y="1183"/>
                </a:cubicBezTo>
                <a:cubicBezTo>
                  <a:pt x="336" y="1185"/>
                  <a:pt x="336" y="1185"/>
                  <a:pt x="336" y="1185"/>
                </a:cubicBezTo>
                <a:cubicBezTo>
                  <a:pt x="333" y="1188"/>
                  <a:pt x="333" y="1188"/>
                  <a:pt x="333" y="1188"/>
                </a:cubicBezTo>
                <a:cubicBezTo>
                  <a:pt x="332" y="1191"/>
                  <a:pt x="332" y="1191"/>
                  <a:pt x="332" y="1191"/>
                </a:cubicBezTo>
                <a:cubicBezTo>
                  <a:pt x="332" y="1191"/>
                  <a:pt x="332" y="1191"/>
                  <a:pt x="332" y="1191"/>
                </a:cubicBezTo>
                <a:cubicBezTo>
                  <a:pt x="331" y="1193"/>
                  <a:pt x="331" y="1193"/>
                  <a:pt x="331" y="1193"/>
                </a:cubicBezTo>
                <a:cubicBezTo>
                  <a:pt x="331" y="1194"/>
                  <a:pt x="331" y="1194"/>
                  <a:pt x="330" y="1195"/>
                </a:cubicBezTo>
                <a:cubicBezTo>
                  <a:pt x="330" y="1194"/>
                  <a:pt x="330" y="1194"/>
                  <a:pt x="330" y="1194"/>
                </a:cubicBezTo>
                <a:cubicBezTo>
                  <a:pt x="330" y="1194"/>
                  <a:pt x="330" y="1194"/>
                  <a:pt x="330" y="1194"/>
                </a:cubicBezTo>
                <a:cubicBezTo>
                  <a:pt x="329" y="1195"/>
                  <a:pt x="328" y="1195"/>
                  <a:pt x="328" y="1193"/>
                </a:cubicBezTo>
                <a:cubicBezTo>
                  <a:pt x="328" y="1199"/>
                  <a:pt x="328" y="1199"/>
                  <a:pt x="328" y="1199"/>
                </a:cubicBezTo>
                <a:cubicBezTo>
                  <a:pt x="334" y="1196"/>
                  <a:pt x="339" y="1195"/>
                  <a:pt x="344" y="1196"/>
                </a:cubicBezTo>
                <a:cubicBezTo>
                  <a:pt x="352" y="1196"/>
                  <a:pt x="352" y="1196"/>
                  <a:pt x="352" y="1196"/>
                </a:cubicBezTo>
                <a:cubicBezTo>
                  <a:pt x="353" y="1196"/>
                  <a:pt x="353" y="1196"/>
                  <a:pt x="353" y="1196"/>
                </a:cubicBezTo>
                <a:cubicBezTo>
                  <a:pt x="353" y="1196"/>
                  <a:pt x="353" y="1196"/>
                  <a:pt x="353" y="1196"/>
                </a:cubicBezTo>
                <a:cubicBezTo>
                  <a:pt x="359" y="1197"/>
                  <a:pt x="359" y="1197"/>
                  <a:pt x="359" y="1197"/>
                </a:cubicBezTo>
                <a:cubicBezTo>
                  <a:pt x="361" y="1195"/>
                  <a:pt x="361" y="1195"/>
                  <a:pt x="361" y="1195"/>
                </a:cubicBezTo>
                <a:cubicBezTo>
                  <a:pt x="368" y="1192"/>
                  <a:pt x="368" y="1192"/>
                  <a:pt x="368" y="1192"/>
                </a:cubicBezTo>
                <a:cubicBezTo>
                  <a:pt x="372" y="1193"/>
                  <a:pt x="372" y="1193"/>
                  <a:pt x="372" y="1193"/>
                </a:cubicBezTo>
                <a:cubicBezTo>
                  <a:pt x="363" y="1196"/>
                  <a:pt x="363" y="1196"/>
                  <a:pt x="363" y="1196"/>
                </a:cubicBezTo>
                <a:cubicBezTo>
                  <a:pt x="359" y="1198"/>
                  <a:pt x="359" y="1198"/>
                  <a:pt x="359" y="1198"/>
                </a:cubicBezTo>
                <a:cubicBezTo>
                  <a:pt x="358" y="1198"/>
                  <a:pt x="358" y="1199"/>
                  <a:pt x="357" y="1199"/>
                </a:cubicBezTo>
                <a:cubicBezTo>
                  <a:pt x="356" y="1198"/>
                  <a:pt x="356" y="1198"/>
                  <a:pt x="356" y="1198"/>
                </a:cubicBezTo>
                <a:cubicBezTo>
                  <a:pt x="350" y="1199"/>
                  <a:pt x="350" y="1199"/>
                  <a:pt x="350" y="1199"/>
                </a:cubicBezTo>
                <a:cubicBezTo>
                  <a:pt x="349" y="1200"/>
                  <a:pt x="349" y="1200"/>
                  <a:pt x="349" y="1200"/>
                </a:cubicBezTo>
                <a:cubicBezTo>
                  <a:pt x="336" y="1213"/>
                  <a:pt x="336" y="1213"/>
                  <a:pt x="336" y="1213"/>
                </a:cubicBezTo>
                <a:cubicBezTo>
                  <a:pt x="340" y="1213"/>
                  <a:pt x="340" y="1213"/>
                  <a:pt x="340" y="1213"/>
                </a:cubicBezTo>
                <a:cubicBezTo>
                  <a:pt x="337" y="1217"/>
                  <a:pt x="337" y="1217"/>
                  <a:pt x="337" y="1217"/>
                </a:cubicBezTo>
                <a:cubicBezTo>
                  <a:pt x="336" y="1221"/>
                  <a:pt x="336" y="1221"/>
                  <a:pt x="336" y="1221"/>
                </a:cubicBezTo>
                <a:cubicBezTo>
                  <a:pt x="337" y="1221"/>
                  <a:pt x="337" y="1221"/>
                  <a:pt x="338" y="1221"/>
                </a:cubicBezTo>
                <a:cubicBezTo>
                  <a:pt x="341" y="1220"/>
                  <a:pt x="341" y="1220"/>
                  <a:pt x="341" y="1220"/>
                </a:cubicBezTo>
                <a:cubicBezTo>
                  <a:pt x="341" y="1223"/>
                  <a:pt x="341" y="1223"/>
                  <a:pt x="341" y="1223"/>
                </a:cubicBezTo>
                <a:cubicBezTo>
                  <a:pt x="339" y="1223"/>
                  <a:pt x="339" y="1223"/>
                  <a:pt x="339" y="1223"/>
                </a:cubicBezTo>
                <a:cubicBezTo>
                  <a:pt x="334" y="1225"/>
                  <a:pt x="334" y="1225"/>
                  <a:pt x="334" y="1225"/>
                </a:cubicBezTo>
                <a:cubicBezTo>
                  <a:pt x="334" y="1225"/>
                  <a:pt x="334" y="1226"/>
                  <a:pt x="334" y="1226"/>
                </a:cubicBezTo>
                <a:cubicBezTo>
                  <a:pt x="335" y="1226"/>
                  <a:pt x="335" y="1226"/>
                  <a:pt x="336" y="1226"/>
                </a:cubicBezTo>
                <a:cubicBezTo>
                  <a:pt x="336" y="1229"/>
                  <a:pt x="336" y="1229"/>
                  <a:pt x="336" y="1229"/>
                </a:cubicBezTo>
                <a:cubicBezTo>
                  <a:pt x="335" y="1231"/>
                  <a:pt x="335" y="1231"/>
                  <a:pt x="335" y="1231"/>
                </a:cubicBezTo>
                <a:cubicBezTo>
                  <a:pt x="338" y="1231"/>
                  <a:pt x="338" y="1231"/>
                  <a:pt x="338" y="1231"/>
                </a:cubicBezTo>
                <a:cubicBezTo>
                  <a:pt x="334" y="1233"/>
                  <a:pt x="334" y="1233"/>
                  <a:pt x="334" y="1233"/>
                </a:cubicBezTo>
                <a:cubicBezTo>
                  <a:pt x="335" y="1239"/>
                  <a:pt x="335" y="1239"/>
                  <a:pt x="335" y="1239"/>
                </a:cubicBezTo>
                <a:cubicBezTo>
                  <a:pt x="335" y="1243"/>
                  <a:pt x="335" y="1243"/>
                  <a:pt x="335" y="1243"/>
                </a:cubicBezTo>
                <a:cubicBezTo>
                  <a:pt x="338" y="1237"/>
                  <a:pt x="338" y="1237"/>
                  <a:pt x="338" y="1237"/>
                </a:cubicBezTo>
                <a:cubicBezTo>
                  <a:pt x="340" y="1238"/>
                  <a:pt x="340" y="1238"/>
                  <a:pt x="340" y="1238"/>
                </a:cubicBezTo>
                <a:cubicBezTo>
                  <a:pt x="340" y="1238"/>
                  <a:pt x="340" y="1238"/>
                  <a:pt x="340" y="1238"/>
                </a:cubicBezTo>
                <a:cubicBezTo>
                  <a:pt x="340" y="1238"/>
                  <a:pt x="340" y="1238"/>
                  <a:pt x="340" y="1238"/>
                </a:cubicBezTo>
                <a:cubicBezTo>
                  <a:pt x="341" y="1239"/>
                  <a:pt x="341" y="1239"/>
                  <a:pt x="341" y="1239"/>
                </a:cubicBezTo>
                <a:cubicBezTo>
                  <a:pt x="341" y="1239"/>
                  <a:pt x="341" y="1239"/>
                  <a:pt x="341" y="1239"/>
                </a:cubicBezTo>
                <a:cubicBezTo>
                  <a:pt x="341" y="1239"/>
                  <a:pt x="341" y="1239"/>
                  <a:pt x="341" y="1239"/>
                </a:cubicBezTo>
                <a:cubicBezTo>
                  <a:pt x="342" y="1243"/>
                  <a:pt x="342" y="1243"/>
                  <a:pt x="342" y="1243"/>
                </a:cubicBezTo>
                <a:cubicBezTo>
                  <a:pt x="342" y="1242"/>
                  <a:pt x="342" y="1242"/>
                  <a:pt x="342" y="1242"/>
                </a:cubicBezTo>
                <a:cubicBezTo>
                  <a:pt x="343" y="1242"/>
                  <a:pt x="343" y="1242"/>
                  <a:pt x="343" y="1242"/>
                </a:cubicBezTo>
                <a:cubicBezTo>
                  <a:pt x="344" y="1241"/>
                  <a:pt x="344" y="1241"/>
                  <a:pt x="344" y="1241"/>
                </a:cubicBezTo>
                <a:cubicBezTo>
                  <a:pt x="344" y="1240"/>
                  <a:pt x="345" y="1240"/>
                  <a:pt x="345" y="1240"/>
                </a:cubicBezTo>
                <a:cubicBezTo>
                  <a:pt x="346" y="1240"/>
                  <a:pt x="346" y="1240"/>
                  <a:pt x="347" y="1241"/>
                </a:cubicBezTo>
                <a:cubicBezTo>
                  <a:pt x="347" y="1239"/>
                  <a:pt x="347" y="1239"/>
                  <a:pt x="347" y="1239"/>
                </a:cubicBezTo>
                <a:cubicBezTo>
                  <a:pt x="348" y="1238"/>
                  <a:pt x="348" y="1238"/>
                  <a:pt x="348" y="1238"/>
                </a:cubicBezTo>
                <a:cubicBezTo>
                  <a:pt x="350" y="1236"/>
                  <a:pt x="350" y="1237"/>
                  <a:pt x="349" y="1239"/>
                </a:cubicBezTo>
                <a:cubicBezTo>
                  <a:pt x="349" y="1241"/>
                  <a:pt x="349" y="1241"/>
                  <a:pt x="349" y="1241"/>
                </a:cubicBezTo>
                <a:cubicBezTo>
                  <a:pt x="352" y="1241"/>
                  <a:pt x="352" y="1241"/>
                  <a:pt x="352" y="1241"/>
                </a:cubicBezTo>
                <a:cubicBezTo>
                  <a:pt x="349" y="1242"/>
                  <a:pt x="349" y="1242"/>
                  <a:pt x="349" y="1242"/>
                </a:cubicBezTo>
                <a:cubicBezTo>
                  <a:pt x="351" y="1243"/>
                  <a:pt x="351" y="1243"/>
                  <a:pt x="351" y="1243"/>
                </a:cubicBezTo>
                <a:cubicBezTo>
                  <a:pt x="350" y="1243"/>
                  <a:pt x="350" y="1243"/>
                  <a:pt x="350" y="1243"/>
                </a:cubicBezTo>
                <a:cubicBezTo>
                  <a:pt x="350" y="1244"/>
                  <a:pt x="350" y="1245"/>
                  <a:pt x="351" y="1245"/>
                </a:cubicBezTo>
                <a:cubicBezTo>
                  <a:pt x="351" y="1245"/>
                  <a:pt x="351" y="1245"/>
                  <a:pt x="351" y="1245"/>
                </a:cubicBezTo>
                <a:cubicBezTo>
                  <a:pt x="351" y="1245"/>
                  <a:pt x="351" y="1245"/>
                  <a:pt x="352" y="1245"/>
                </a:cubicBezTo>
                <a:cubicBezTo>
                  <a:pt x="352" y="1246"/>
                  <a:pt x="352" y="1246"/>
                  <a:pt x="352" y="1246"/>
                </a:cubicBezTo>
                <a:cubicBezTo>
                  <a:pt x="352" y="1246"/>
                  <a:pt x="352" y="1246"/>
                  <a:pt x="352" y="1246"/>
                </a:cubicBezTo>
                <a:cubicBezTo>
                  <a:pt x="349" y="1246"/>
                  <a:pt x="349" y="1246"/>
                  <a:pt x="349" y="1246"/>
                </a:cubicBezTo>
                <a:cubicBezTo>
                  <a:pt x="346" y="1246"/>
                  <a:pt x="346" y="1246"/>
                  <a:pt x="346" y="1246"/>
                </a:cubicBezTo>
                <a:cubicBezTo>
                  <a:pt x="346" y="1246"/>
                  <a:pt x="345" y="1247"/>
                  <a:pt x="344" y="1247"/>
                </a:cubicBezTo>
                <a:cubicBezTo>
                  <a:pt x="344" y="1247"/>
                  <a:pt x="343" y="1247"/>
                  <a:pt x="343" y="1246"/>
                </a:cubicBezTo>
                <a:cubicBezTo>
                  <a:pt x="343" y="1246"/>
                  <a:pt x="343" y="1246"/>
                  <a:pt x="343" y="1246"/>
                </a:cubicBezTo>
                <a:cubicBezTo>
                  <a:pt x="344" y="1253"/>
                  <a:pt x="344" y="1253"/>
                  <a:pt x="344" y="1253"/>
                </a:cubicBezTo>
                <a:cubicBezTo>
                  <a:pt x="344" y="1251"/>
                  <a:pt x="344" y="1251"/>
                  <a:pt x="344" y="1251"/>
                </a:cubicBezTo>
                <a:cubicBezTo>
                  <a:pt x="345" y="1250"/>
                  <a:pt x="345" y="1249"/>
                  <a:pt x="346" y="1249"/>
                </a:cubicBezTo>
                <a:cubicBezTo>
                  <a:pt x="346" y="1249"/>
                  <a:pt x="346" y="1249"/>
                  <a:pt x="346" y="1249"/>
                </a:cubicBezTo>
                <a:cubicBezTo>
                  <a:pt x="350" y="1248"/>
                  <a:pt x="350" y="1248"/>
                  <a:pt x="350" y="1248"/>
                </a:cubicBezTo>
                <a:cubicBezTo>
                  <a:pt x="349" y="1249"/>
                  <a:pt x="349" y="1249"/>
                  <a:pt x="349" y="1249"/>
                </a:cubicBezTo>
                <a:cubicBezTo>
                  <a:pt x="351" y="1250"/>
                  <a:pt x="351" y="1250"/>
                  <a:pt x="351" y="1250"/>
                </a:cubicBezTo>
                <a:cubicBezTo>
                  <a:pt x="351" y="1251"/>
                  <a:pt x="351" y="1251"/>
                  <a:pt x="351" y="1251"/>
                </a:cubicBezTo>
                <a:cubicBezTo>
                  <a:pt x="353" y="1250"/>
                  <a:pt x="353" y="1250"/>
                  <a:pt x="353" y="1250"/>
                </a:cubicBezTo>
                <a:cubicBezTo>
                  <a:pt x="356" y="1250"/>
                  <a:pt x="356" y="1251"/>
                  <a:pt x="354" y="1251"/>
                </a:cubicBezTo>
                <a:cubicBezTo>
                  <a:pt x="354" y="1253"/>
                  <a:pt x="354" y="1253"/>
                  <a:pt x="354" y="1253"/>
                </a:cubicBezTo>
                <a:cubicBezTo>
                  <a:pt x="352" y="1253"/>
                  <a:pt x="352" y="1253"/>
                  <a:pt x="352" y="1254"/>
                </a:cubicBezTo>
                <a:cubicBezTo>
                  <a:pt x="350" y="1255"/>
                  <a:pt x="350" y="1256"/>
                  <a:pt x="352" y="1257"/>
                </a:cubicBezTo>
                <a:cubicBezTo>
                  <a:pt x="352" y="1261"/>
                  <a:pt x="352" y="1261"/>
                  <a:pt x="352" y="1261"/>
                </a:cubicBezTo>
                <a:cubicBezTo>
                  <a:pt x="355" y="1259"/>
                  <a:pt x="355" y="1259"/>
                  <a:pt x="355" y="1259"/>
                </a:cubicBezTo>
                <a:cubicBezTo>
                  <a:pt x="354" y="1262"/>
                  <a:pt x="354" y="1262"/>
                  <a:pt x="354" y="1262"/>
                </a:cubicBezTo>
                <a:cubicBezTo>
                  <a:pt x="354" y="1264"/>
                  <a:pt x="354" y="1264"/>
                  <a:pt x="354" y="1264"/>
                </a:cubicBezTo>
                <a:cubicBezTo>
                  <a:pt x="354" y="1264"/>
                  <a:pt x="354" y="1264"/>
                  <a:pt x="354" y="1264"/>
                </a:cubicBezTo>
                <a:cubicBezTo>
                  <a:pt x="354" y="1266"/>
                  <a:pt x="355" y="1266"/>
                  <a:pt x="356" y="1265"/>
                </a:cubicBezTo>
                <a:cubicBezTo>
                  <a:pt x="357" y="1265"/>
                  <a:pt x="357" y="1265"/>
                  <a:pt x="357" y="1265"/>
                </a:cubicBezTo>
                <a:cubicBezTo>
                  <a:pt x="357" y="1266"/>
                  <a:pt x="357" y="1266"/>
                  <a:pt x="357" y="1266"/>
                </a:cubicBezTo>
                <a:cubicBezTo>
                  <a:pt x="356" y="1266"/>
                  <a:pt x="356" y="1266"/>
                  <a:pt x="356" y="1267"/>
                </a:cubicBezTo>
                <a:cubicBezTo>
                  <a:pt x="357" y="1267"/>
                  <a:pt x="357" y="1267"/>
                  <a:pt x="358" y="1267"/>
                </a:cubicBezTo>
                <a:cubicBezTo>
                  <a:pt x="359" y="1267"/>
                  <a:pt x="359" y="1267"/>
                  <a:pt x="359" y="1267"/>
                </a:cubicBezTo>
                <a:cubicBezTo>
                  <a:pt x="359" y="1267"/>
                  <a:pt x="359" y="1267"/>
                  <a:pt x="359" y="1267"/>
                </a:cubicBezTo>
                <a:cubicBezTo>
                  <a:pt x="356" y="1269"/>
                  <a:pt x="356" y="1269"/>
                  <a:pt x="356" y="1269"/>
                </a:cubicBezTo>
                <a:cubicBezTo>
                  <a:pt x="356" y="1271"/>
                  <a:pt x="356" y="1271"/>
                  <a:pt x="356" y="1271"/>
                </a:cubicBezTo>
                <a:cubicBezTo>
                  <a:pt x="355" y="1275"/>
                  <a:pt x="355" y="1275"/>
                  <a:pt x="355" y="1275"/>
                </a:cubicBezTo>
                <a:cubicBezTo>
                  <a:pt x="355" y="1275"/>
                  <a:pt x="356" y="1275"/>
                  <a:pt x="356" y="1276"/>
                </a:cubicBezTo>
                <a:cubicBezTo>
                  <a:pt x="356" y="1277"/>
                  <a:pt x="356" y="1277"/>
                  <a:pt x="354" y="1277"/>
                </a:cubicBezTo>
                <a:cubicBezTo>
                  <a:pt x="354" y="1277"/>
                  <a:pt x="355" y="1278"/>
                  <a:pt x="355" y="1278"/>
                </a:cubicBezTo>
                <a:cubicBezTo>
                  <a:pt x="356" y="1281"/>
                  <a:pt x="356" y="1281"/>
                  <a:pt x="354" y="1279"/>
                </a:cubicBezTo>
                <a:cubicBezTo>
                  <a:pt x="355" y="1285"/>
                  <a:pt x="355" y="1285"/>
                  <a:pt x="355" y="1285"/>
                </a:cubicBezTo>
                <a:cubicBezTo>
                  <a:pt x="355" y="1285"/>
                  <a:pt x="354" y="1285"/>
                  <a:pt x="354" y="1285"/>
                </a:cubicBezTo>
                <a:cubicBezTo>
                  <a:pt x="353" y="1285"/>
                  <a:pt x="353" y="1285"/>
                  <a:pt x="354" y="1287"/>
                </a:cubicBezTo>
                <a:cubicBezTo>
                  <a:pt x="350" y="1293"/>
                  <a:pt x="350" y="1293"/>
                  <a:pt x="350" y="1293"/>
                </a:cubicBezTo>
                <a:cubicBezTo>
                  <a:pt x="349" y="1299"/>
                  <a:pt x="349" y="1299"/>
                  <a:pt x="349" y="1299"/>
                </a:cubicBezTo>
                <a:cubicBezTo>
                  <a:pt x="346" y="1300"/>
                  <a:pt x="346" y="1300"/>
                  <a:pt x="346" y="1300"/>
                </a:cubicBezTo>
                <a:cubicBezTo>
                  <a:pt x="344" y="1304"/>
                  <a:pt x="344" y="1304"/>
                  <a:pt x="344" y="1304"/>
                </a:cubicBezTo>
                <a:cubicBezTo>
                  <a:pt x="342" y="1319"/>
                  <a:pt x="342" y="1319"/>
                  <a:pt x="342" y="1319"/>
                </a:cubicBezTo>
                <a:cubicBezTo>
                  <a:pt x="342" y="1320"/>
                  <a:pt x="342" y="1320"/>
                  <a:pt x="342" y="1320"/>
                </a:cubicBezTo>
                <a:cubicBezTo>
                  <a:pt x="342" y="1321"/>
                  <a:pt x="341" y="1321"/>
                  <a:pt x="341" y="1321"/>
                </a:cubicBezTo>
                <a:cubicBezTo>
                  <a:pt x="342" y="1328"/>
                  <a:pt x="342" y="1328"/>
                  <a:pt x="342" y="1328"/>
                </a:cubicBezTo>
                <a:cubicBezTo>
                  <a:pt x="344" y="1330"/>
                  <a:pt x="344" y="1330"/>
                  <a:pt x="344" y="1330"/>
                </a:cubicBezTo>
                <a:cubicBezTo>
                  <a:pt x="344" y="1331"/>
                  <a:pt x="344" y="1331"/>
                  <a:pt x="344" y="1331"/>
                </a:cubicBezTo>
                <a:cubicBezTo>
                  <a:pt x="344" y="1331"/>
                  <a:pt x="344" y="1331"/>
                  <a:pt x="344" y="1330"/>
                </a:cubicBezTo>
                <a:cubicBezTo>
                  <a:pt x="342" y="1329"/>
                  <a:pt x="340" y="1329"/>
                  <a:pt x="339" y="1331"/>
                </a:cubicBezTo>
                <a:cubicBezTo>
                  <a:pt x="339" y="1331"/>
                  <a:pt x="339" y="1331"/>
                  <a:pt x="338" y="1331"/>
                </a:cubicBezTo>
                <a:cubicBezTo>
                  <a:pt x="338" y="1338"/>
                  <a:pt x="338" y="1338"/>
                  <a:pt x="338" y="1338"/>
                </a:cubicBezTo>
                <a:cubicBezTo>
                  <a:pt x="340" y="1342"/>
                  <a:pt x="340" y="1342"/>
                  <a:pt x="340" y="1342"/>
                </a:cubicBezTo>
                <a:cubicBezTo>
                  <a:pt x="340" y="1346"/>
                  <a:pt x="340" y="1346"/>
                  <a:pt x="340" y="1346"/>
                </a:cubicBezTo>
                <a:cubicBezTo>
                  <a:pt x="341" y="1347"/>
                  <a:pt x="341" y="1347"/>
                  <a:pt x="341" y="1347"/>
                </a:cubicBezTo>
                <a:cubicBezTo>
                  <a:pt x="342" y="1356"/>
                  <a:pt x="342" y="1356"/>
                  <a:pt x="342" y="1356"/>
                </a:cubicBezTo>
                <a:cubicBezTo>
                  <a:pt x="344" y="1357"/>
                  <a:pt x="344" y="1357"/>
                  <a:pt x="344" y="1357"/>
                </a:cubicBezTo>
                <a:cubicBezTo>
                  <a:pt x="341" y="1358"/>
                  <a:pt x="341" y="1358"/>
                  <a:pt x="341" y="1358"/>
                </a:cubicBezTo>
                <a:cubicBezTo>
                  <a:pt x="345" y="1368"/>
                  <a:pt x="345" y="1368"/>
                  <a:pt x="345" y="1368"/>
                </a:cubicBezTo>
                <a:cubicBezTo>
                  <a:pt x="344" y="1368"/>
                  <a:pt x="344" y="1368"/>
                  <a:pt x="344" y="1369"/>
                </a:cubicBezTo>
                <a:cubicBezTo>
                  <a:pt x="344" y="1369"/>
                  <a:pt x="344" y="1369"/>
                  <a:pt x="344" y="1369"/>
                </a:cubicBezTo>
                <a:cubicBezTo>
                  <a:pt x="346" y="1373"/>
                  <a:pt x="346" y="1373"/>
                  <a:pt x="346" y="1373"/>
                </a:cubicBezTo>
                <a:cubicBezTo>
                  <a:pt x="345" y="1375"/>
                  <a:pt x="345" y="1375"/>
                  <a:pt x="345" y="1375"/>
                </a:cubicBezTo>
                <a:cubicBezTo>
                  <a:pt x="348" y="1379"/>
                  <a:pt x="348" y="1379"/>
                  <a:pt x="348" y="1379"/>
                </a:cubicBezTo>
                <a:cubicBezTo>
                  <a:pt x="352" y="1378"/>
                  <a:pt x="352" y="1378"/>
                  <a:pt x="352" y="1378"/>
                </a:cubicBezTo>
                <a:cubicBezTo>
                  <a:pt x="353" y="1379"/>
                  <a:pt x="353" y="1379"/>
                  <a:pt x="353" y="1379"/>
                </a:cubicBezTo>
                <a:cubicBezTo>
                  <a:pt x="356" y="1381"/>
                  <a:pt x="356" y="1381"/>
                  <a:pt x="356" y="1381"/>
                </a:cubicBezTo>
                <a:cubicBezTo>
                  <a:pt x="348" y="1380"/>
                  <a:pt x="348" y="1380"/>
                  <a:pt x="348" y="1380"/>
                </a:cubicBezTo>
                <a:cubicBezTo>
                  <a:pt x="347" y="1393"/>
                  <a:pt x="347" y="1393"/>
                  <a:pt x="347" y="1393"/>
                </a:cubicBezTo>
                <a:cubicBezTo>
                  <a:pt x="349" y="1393"/>
                  <a:pt x="349" y="1393"/>
                  <a:pt x="349" y="1393"/>
                </a:cubicBezTo>
                <a:cubicBezTo>
                  <a:pt x="350" y="1397"/>
                  <a:pt x="350" y="1397"/>
                  <a:pt x="350" y="1397"/>
                </a:cubicBezTo>
                <a:cubicBezTo>
                  <a:pt x="350" y="1398"/>
                  <a:pt x="350" y="1399"/>
                  <a:pt x="350" y="1400"/>
                </a:cubicBezTo>
                <a:cubicBezTo>
                  <a:pt x="351" y="1400"/>
                  <a:pt x="351" y="1400"/>
                  <a:pt x="351" y="1400"/>
                </a:cubicBezTo>
                <a:cubicBezTo>
                  <a:pt x="351" y="1400"/>
                  <a:pt x="351" y="1399"/>
                  <a:pt x="352" y="1399"/>
                </a:cubicBezTo>
                <a:cubicBezTo>
                  <a:pt x="349" y="1403"/>
                  <a:pt x="349" y="1403"/>
                  <a:pt x="349" y="1403"/>
                </a:cubicBezTo>
                <a:cubicBezTo>
                  <a:pt x="349" y="1406"/>
                  <a:pt x="349" y="1406"/>
                  <a:pt x="349" y="1406"/>
                </a:cubicBezTo>
                <a:cubicBezTo>
                  <a:pt x="347" y="1409"/>
                  <a:pt x="347" y="1409"/>
                  <a:pt x="347" y="1409"/>
                </a:cubicBezTo>
                <a:cubicBezTo>
                  <a:pt x="348" y="1408"/>
                  <a:pt x="348" y="1408"/>
                  <a:pt x="348" y="1408"/>
                </a:cubicBezTo>
                <a:cubicBezTo>
                  <a:pt x="349" y="1409"/>
                  <a:pt x="349" y="1409"/>
                  <a:pt x="349" y="1410"/>
                </a:cubicBezTo>
                <a:cubicBezTo>
                  <a:pt x="352" y="1404"/>
                  <a:pt x="352" y="1404"/>
                  <a:pt x="352" y="1404"/>
                </a:cubicBezTo>
                <a:cubicBezTo>
                  <a:pt x="352" y="1404"/>
                  <a:pt x="352" y="1404"/>
                  <a:pt x="352" y="1403"/>
                </a:cubicBezTo>
                <a:cubicBezTo>
                  <a:pt x="352" y="1403"/>
                  <a:pt x="353" y="1403"/>
                  <a:pt x="353" y="1403"/>
                </a:cubicBezTo>
                <a:cubicBezTo>
                  <a:pt x="354" y="1403"/>
                  <a:pt x="355" y="1404"/>
                  <a:pt x="355" y="1405"/>
                </a:cubicBezTo>
                <a:cubicBezTo>
                  <a:pt x="359" y="1401"/>
                  <a:pt x="359" y="1401"/>
                  <a:pt x="359" y="1401"/>
                </a:cubicBezTo>
                <a:cubicBezTo>
                  <a:pt x="359" y="1401"/>
                  <a:pt x="359" y="1401"/>
                  <a:pt x="359" y="1401"/>
                </a:cubicBezTo>
                <a:cubicBezTo>
                  <a:pt x="356" y="1400"/>
                  <a:pt x="356" y="1399"/>
                  <a:pt x="358" y="1399"/>
                </a:cubicBezTo>
                <a:cubicBezTo>
                  <a:pt x="358" y="1399"/>
                  <a:pt x="358" y="1399"/>
                  <a:pt x="359" y="1399"/>
                </a:cubicBezTo>
                <a:cubicBezTo>
                  <a:pt x="358" y="1397"/>
                  <a:pt x="358" y="1397"/>
                  <a:pt x="358" y="1397"/>
                </a:cubicBezTo>
                <a:cubicBezTo>
                  <a:pt x="358" y="1397"/>
                  <a:pt x="358" y="1397"/>
                  <a:pt x="358" y="1396"/>
                </a:cubicBezTo>
                <a:cubicBezTo>
                  <a:pt x="359" y="1396"/>
                  <a:pt x="359" y="1396"/>
                  <a:pt x="359" y="1396"/>
                </a:cubicBezTo>
                <a:cubicBezTo>
                  <a:pt x="359" y="1396"/>
                  <a:pt x="360" y="1395"/>
                  <a:pt x="360" y="1395"/>
                </a:cubicBezTo>
                <a:cubicBezTo>
                  <a:pt x="359" y="1393"/>
                  <a:pt x="359" y="1393"/>
                  <a:pt x="359" y="1393"/>
                </a:cubicBezTo>
                <a:cubicBezTo>
                  <a:pt x="362" y="1391"/>
                  <a:pt x="362" y="1391"/>
                  <a:pt x="362" y="1391"/>
                </a:cubicBezTo>
                <a:cubicBezTo>
                  <a:pt x="362" y="1395"/>
                  <a:pt x="362" y="1395"/>
                  <a:pt x="362" y="1395"/>
                </a:cubicBezTo>
                <a:cubicBezTo>
                  <a:pt x="362" y="1395"/>
                  <a:pt x="362" y="1395"/>
                  <a:pt x="362" y="1395"/>
                </a:cubicBezTo>
                <a:cubicBezTo>
                  <a:pt x="362" y="1395"/>
                  <a:pt x="362" y="1396"/>
                  <a:pt x="362" y="1398"/>
                </a:cubicBezTo>
                <a:cubicBezTo>
                  <a:pt x="361" y="1399"/>
                  <a:pt x="362" y="1401"/>
                  <a:pt x="362" y="1403"/>
                </a:cubicBezTo>
                <a:cubicBezTo>
                  <a:pt x="362" y="1404"/>
                  <a:pt x="363" y="1405"/>
                  <a:pt x="363" y="1405"/>
                </a:cubicBezTo>
                <a:cubicBezTo>
                  <a:pt x="367" y="1404"/>
                  <a:pt x="367" y="1404"/>
                  <a:pt x="367" y="1404"/>
                </a:cubicBezTo>
                <a:cubicBezTo>
                  <a:pt x="367" y="1404"/>
                  <a:pt x="367" y="1404"/>
                  <a:pt x="367" y="1404"/>
                </a:cubicBezTo>
                <a:cubicBezTo>
                  <a:pt x="367" y="1403"/>
                  <a:pt x="368" y="1402"/>
                  <a:pt x="368" y="1401"/>
                </a:cubicBezTo>
                <a:cubicBezTo>
                  <a:pt x="369" y="1400"/>
                  <a:pt x="370" y="1400"/>
                  <a:pt x="369" y="1401"/>
                </a:cubicBezTo>
                <a:cubicBezTo>
                  <a:pt x="369" y="1401"/>
                  <a:pt x="368" y="1401"/>
                  <a:pt x="368" y="1401"/>
                </a:cubicBezTo>
                <a:cubicBezTo>
                  <a:pt x="369" y="1403"/>
                  <a:pt x="369" y="1403"/>
                  <a:pt x="369" y="1403"/>
                </a:cubicBezTo>
                <a:cubicBezTo>
                  <a:pt x="369" y="1404"/>
                  <a:pt x="369" y="1404"/>
                  <a:pt x="369" y="1404"/>
                </a:cubicBezTo>
                <a:cubicBezTo>
                  <a:pt x="369" y="1404"/>
                  <a:pt x="369" y="1404"/>
                  <a:pt x="369" y="1403"/>
                </a:cubicBezTo>
                <a:cubicBezTo>
                  <a:pt x="367" y="1404"/>
                  <a:pt x="367" y="1404"/>
                  <a:pt x="367" y="1404"/>
                </a:cubicBezTo>
                <a:cubicBezTo>
                  <a:pt x="367" y="1404"/>
                  <a:pt x="367" y="1404"/>
                  <a:pt x="367" y="1404"/>
                </a:cubicBezTo>
                <a:cubicBezTo>
                  <a:pt x="366" y="1405"/>
                  <a:pt x="366" y="1406"/>
                  <a:pt x="366" y="1406"/>
                </a:cubicBezTo>
                <a:cubicBezTo>
                  <a:pt x="365" y="1407"/>
                  <a:pt x="364" y="1407"/>
                  <a:pt x="364" y="1406"/>
                </a:cubicBezTo>
                <a:cubicBezTo>
                  <a:pt x="364" y="1405"/>
                  <a:pt x="364" y="1405"/>
                  <a:pt x="363" y="1405"/>
                </a:cubicBezTo>
                <a:cubicBezTo>
                  <a:pt x="360" y="1406"/>
                  <a:pt x="360" y="1406"/>
                  <a:pt x="360" y="1406"/>
                </a:cubicBezTo>
                <a:cubicBezTo>
                  <a:pt x="361" y="1409"/>
                  <a:pt x="361" y="1409"/>
                  <a:pt x="361" y="1409"/>
                </a:cubicBezTo>
                <a:cubicBezTo>
                  <a:pt x="359" y="1407"/>
                  <a:pt x="358" y="1408"/>
                  <a:pt x="359" y="1410"/>
                </a:cubicBezTo>
                <a:cubicBezTo>
                  <a:pt x="359" y="1410"/>
                  <a:pt x="359" y="1411"/>
                  <a:pt x="359" y="1411"/>
                </a:cubicBezTo>
                <a:cubicBezTo>
                  <a:pt x="359" y="1411"/>
                  <a:pt x="359" y="1412"/>
                  <a:pt x="359" y="1412"/>
                </a:cubicBezTo>
                <a:cubicBezTo>
                  <a:pt x="359" y="1413"/>
                  <a:pt x="359" y="1413"/>
                  <a:pt x="359" y="1413"/>
                </a:cubicBezTo>
                <a:cubicBezTo>
                  <a:pt x="356" y="1411"/>
                  <a:pt x="356" y="1411"/>
                  <a:pt x="356" y="1411"/>
                </a:cubicBezTo>
                <a:cubicBezTo>
                  <a:pt x="357" y="1416"/>
                  <a:pt x="357" y="1416"/>
                  <a:pt x="357" y="1416"/>
                </a:cubicBezTo>
                <a:cubicBezTo>
                  <a:pt x="362" y="1415"/>
                  <a:pt x="362" y="1415"/>
                  <a:pt x="362" y="1415"/>
                </a:cubicBezTo>
                <a:cubicBezTo>
                  <a:pt x="362" y="1419"/>
                  <a:pt x="362" y="1419"/>
                  <a:pt x="362" y="1419"/>
                </a:cubicBezTo>
                <a:cubicBezTo>
                  <a:pt x="367" y="1419"/>
                  <a:pt x="367" y="1419"/>
                  <a:pt x="367" y="1419"/>
                </a:cubicBezTo>
                <a:cubicBezTo>
                  <a:pt x="362" y="1420"/>
                  <a:pt x="362" y="1420"/>
                  <a:pt x="362" y="1420"/>
                </a:cubicBezTo>
                <a:cubicBezTo>
                  <a:pt x="364" y="1422"/>
                  <a:pt x="362" y="1421"/>
                  <a:pt x="358" y="1419"/>
                </a:cubicBezTo>
                <a:cubicBezTo>
                  <a:pt x="357" y="1419"/>
                  <a:pt x="356" y="1420"/>
                  <a:pt x="354" y="1420"/>
                </a:cubicBezTo>
                <a:cubicBezTo>
                  <a:pt x="354" y="1420"/>
                  <a:pt x="354" y="1419"/>
                  <a:pt x="354" y="1419"/>
                </a:cubicBezTo>
                <a:cubicBezTo>
                  <a:pt x="351" y="1424"/>
                  <a:pt x="351" y="1429"/>
                  <a:pt x="354" y="1432"/>
                </a:cubicBezTo>
                <a:cubicBezTo>
                  <a:pt x="357" y="1439"/>
                  <a:pt x="357" y="1439"/>
                  <a:pt x="357" y="1439"/>
                </a:cubicBezTo>
                <a:cubicBezTo>
                  <a:pt x="360" y="1439"/>
                  <a:pt x="360" y="1439"/>
                  <a:pt x="360" y="1439"/>
                </a:cubicBezTo>
                <a:cubicBezTo>
                  <a:pt x="356" y="1441"/>
                  <a:pt x="356" y="1441"/>
                  <a:pt x="356" y="1441"/>
                </a:cubicBezTo>
                <a:cubicBezTo>
                  <a:pt x="356" y="1455"/>
                  <a:pt x="356" y="1455"/>
                  <a:pt x="356" y="1455"/>
                </a:cubicBezTo>
                <a:cubicBezTo>
                  <a:pt x="360" y="1457"/>
                  <a:pt x="360" y="1457"/>
                  <a:pt x="360" y="1457"/>
                </a:cubicBezTo>
                <a:cubicBezTo>
                  <a:pt x="361" y="1459"/>
                  <a:pt x="361" y="1459"/>
                  <a:pt x="361" y="1459"/>
                </a:cubicBezTo>
                <a:cubicBezTo>
                  <a:pt x="366" y="1461"/>
                  <a:pt x="366" y="1461"/>
                  <a:pt x="366" y="1461"/>
                </a:cubicBezTo>
                <a:cubicBezTo>
                  <a:pt x="366" y="1461"/>
                  <a:pt x="366" y="1461"/>
                  <a:pt x="366" y="1461"/>
                </a:cubicBezTo>
                <a:cubicBezTo>
                  <a:pt x="368" y="1462"/>
                  <a:pt x="369" y="1463"/>
                  <a:pt x="369" y="1466"/>
                </a:cubicBezTo>
                <a:cubicBezTo>
                  <a:pt x="365" y="1463"/>
                  <a:pt x="365" y="1463"/>
                  <a:pt x="365" y="1463"/>
                </a:cubicBezTo>
                <a:cubicBezTo>
                  <a:pt x="364" y="1463"/>
                  <a:pt x="363" y="1463"/>
                  <a:pt x="362" y="1462"/>
                </a:cubicBezTo>
                <a:cubicBezTo>
                  <a:pt x="361" y="1462"/>
                  <a:pt x="361" y="1462"/>
                  <a:pt x="361" y="1462"/>
                </a:cubicBezTo>
                <a:cubicBezTo>
                  <a:pt x="361" y="1462"/>
                  <a:pt x="361" y="1461"/>
                  <a:pt x="361" y="1461"/>
                </a:cubicBezTo>
                <a:cubicBezTo>
                  <a:pt x="360" y="1461"/>
                  <a:pt x="360" y="1461"/>
                  <a:pt x="360" y="1461"/>
                </a:cubicBezTo>
                <a:cubicBezTo>
                  <a:pt x="360" y="1461"/>
                  <a:pt x="360" y="1461"/>
                  <a:pt x="360" y="1461"/>
                </a:cubicBezTo>
                <a:cubicBezTo>
                  <a:pt x="359" y="1462"/>
                  <a:pt x="358" y="1463"/>
                  <a:pt x="358" y="1465"/>
                </a:cubicBezTo>
                <a:cubicBezTo>
                  <a:pt x="360" y="1465"/>
                  <a:pt x="360" y="1465"/>
                  <a:pt x="360" y="1465"/>
                </a:cubicBezTo>
                <a:cubicBezTo>
                  <a:pt x="362" y="1469"/>
                  <a:pt x="362" y="1469"/>
                  <a:pt x="362" y="1469"/>
                </a:cubicBezTo>
                <a:cubicBezTo>
                  <a:pt x="361" y="1472"/>
                  <a:pt x="361" y="1472"/>
                  <a:pt x="361" y="1472"/>
                </a:cubicBezTo>
                <a:cubicBezTo>
                  <a:pt x="363" y="1476"/>
                  <a:pt x="363" y="1476"/>
                  <a:pt x="363" y="1476"/>
                </a:cubicBezTo>
                <a:cubicBezTo>
                  <a:pt x="362" y="1477"/>
                  <a:pt x="362" y="1477"/>
                  <a:pt x="362" y="1477"/>
                </a:cubicBezTo>
                <a:cubicBezTo>
                  <a:pt x="362" y="1477"/>
                  <a:pt x="362" y="1477"/>
                  <a:pt x="363" y="1477"/>
                </a:cubicBezTo>
                <a:cubicBezTo>
                  <a:pt x="363" y="1477"/>
                  <a:pt x="363" y="1477"/>
                  <a:pt x="363" y="1478"/>
                </a:cubicBezTo>
                <a:cubicBezTo>
                  <a:pt x="364" y="1478"/>
                  <a:pt x="364" y="1478"/>
                  <a:pt x="364" y="1478"/>
                </a:cubicBezTo>
                <a:cubicBezTo>
                  <a:pt x="365" y="1478"/>
                  <a:pt x="365" y="1478"/>
                  <a:pt x="366" y="1478"/>
                </a:cubicBezTo>
                <a:cubicBezTo>
                  <a:pt x="364" y="1480"/>
                  <a:pt x="364" y="1480"/>
                  <a:pt x="364" y="1480"/>
                </a:cubicBezTo>
                <a:cubicBezTo>
                  <a:pt x="366" y="1484"/>
                  <a:pt x="366" y="1484"/>
                  <a:pt x="366" y="1484"/>
                </a:cubicBezTo>
                <a:cubicBezTo>
                  <a:pt x="366" y="1487"/>
                  <a:pt x="366" y="1487"/>
                  <a:pt x="366" y="1487"/>
                </a:cubicBezTo>
                <a:cubicBezTo>
                  <a:pt x="376" y="1515"/>
                  <a:pt x="376" y="1515"/>
                  <a:pt x="376" y="1515"/>
                </a:cubicBezTo>
                <a:cubicBezTo>
                  <a:pt x="375" y="1515"/>
                  <a:pt x="375" y="1515"/>
                  <a:pt x="375" y="1515"/>
                </a:cubicBezTo>
                <a:cubicBezTo>
                  <a:pt x="375" y="1515"/>
                  <a:pt x="375" y="1515"/>
                  <a:pt x="375" y="1515"/>
                </a:cubicBezTo>
                <a:cubicBezTo>
                  <a:pt x="374" y="1516"/>
                  <a:pt x="374" y="1517"/>
                  <a:pt x="374" y="1517"/>
                </a:cubicBezTo>
                <a:cubicBezTo>
                  <a:pt x="376" y="1519"/>
                  <a:pt x="376" y="1519"/>
                  <a:pt x="376" y="1519"/>
                </a:cubicBezTo>
                <a:cubicBezTo>
                  <a:pt x="377" y="1526"/>
                  <a:pt x="377" y="1526"/>
                  <a:pt x="377" y="1526"/>
                </a:cubicBezTo>
                <a:cubicBezTo>
                  <a:pt x="377" y="1526"/>
                  <a:pt x="377" y="1527"/>
                  <a:pt x="377" y="1527"/>
                </a:cubicBezTo>
                <a:cubicBezTo>
                  <a:pt x="377" y="1527"/>
                  <a:pt x="377" y="1527"/>
                  <a:pt x="376" y="1527"/>
                </a:cubicBezTo>
                <a:cubicBezTo>
                  <a:pt x="376" y="1528"/>
                  <a:pt x="376" y="1528"/>
                  <a:pt x="376" y="1528"/>
                </a:cubicBezTo>
                <a:cubicBezTo>
                  <a:pt x="377" y="1528"/>
                  <a:pt x="377" y="1529"/>
                  <a:pt x="378" y="1529"/>
                </a:cubicBezTo>
                <a:cubicBezTo>
                  <a:pt x="379" y="1533"/>
                  <a:pt x="379" y="1533"/>
                  <a:pt x="379" y="1533"/>
                </a:cubicBezTo>
                <a:cubicBezTo>
                  <a:pt x="381" y="1537"/>
                  <a:pt x="381" y="1537"/>
                  <a:pt x="381" y="1537"/>
                </a:cubicBezTo>
                <a:cubicBezTo>
                  <a:pt x="382" y="1537"/>
                  <a:pt x="382" y="1537"/>
                  <a:pt x="382" y="1536"/>
                </a:cubicBezTo>
                <a:cubicBezTo>
                  <a:pt x="383" y="1536"/>
                  <a:pt x="383" y="1536"/>
                  <a:pt x="383" y="1536"/>
                </a:cubicBezTo>
                <a:cubicBezTo>
                  <a:pt x="383" y="1536"/>
                  <a:pt x="384" y="1536"/>
                  <a:pt x="384" y="1537"/>
                </a:cubicBezTo>
                <a:cubicBezTo>
                  <a:pt x="385" y="1537"/>
                  <a:pt x="385" y="1537"/>
                  <a:pt x="385" y="1537"/>
                </a:cubicBezTo>
                <a:cubicBezTo>
                  <a:pt x="383" y="1537"/>
                  <a:pt x="383" y="1537"/>
                  <a:pt x="383" y="1537"/>
                </a:cubicBezTo>
                <a:cubicBezTo>
                  <a:pt x="382" y="1537"/>
                  <a:pt x="382" y="1537"/>
                  <a:pt x="382" y="1537"/>
                </a:cubicBezTo>
                <a:cubicBezTo>
                  <a:pt x="382" y="1537"/>
                  <a:pt x="382" y="1538"/>
                  <a:pt x="382" y="1538"/>
                </a:cubicBezTo>
                <a:cubicBezTo>
                  <a:pt x="381" y="1537"/>
                  <a:pt x="381" y="1537"/>
                  <a:pt x="381" y="1537"/>
                </a:cubicBezTo>
                <a:cubicBezTo>
                  <a:pt x="379" y="1536"/>
                  <a:pt x="379" y="1536"/>
                  <a:pt x="379" y="1536"/>
                </a:cubicBezTo>
                <a:cubicBezTo>
                  <a:pt x="377" y="1536"/>
                  <a:pt x="377" y="1536"/>
                  <a:pt x="377" y="1536"/>
                </a:cubicBezTo>
                <a:cubicBezTo>
                  <a:pt x="381" y="1543"/>
                  <a:pt x="381" y="1543"/>
                  <a:pt x="381" y="1543"/>
                </a:cubicBezTo>
                <a:cubicBezTo>
                  <a:pt x="381" y="1545"/>
                  <a:pt x="381" y="1545"/>
                  <a:pt x="381" y="1545"/>
                </a:cubicBezTo>
                <a:cubicBezTo>
                  <a:pt x="384" y="1549"/>
                  <a:pt x="384" y="1549"/>
                  <a:pt x="384" y="1549"/>
                </a:cubicBezTo>
                <a:cubicBezTo>
                  <a:pt x="383" y="1551"/>
                  <a:pt x="383" y="1551"/>
                  <a:pt x="383" y="1551"/>
                </a:cubicBezTo>
                <a:cubicBezTo>
                  <a:pt x="385" y="1553"/>
                  <a:pt x="385" y="1553"/>
                  <a:pt x="385" y="1553"/>
                </a:cubicBezTo>
                <a:cubicBezTo>
                  <a:pt x="384" y="1556"/>
                  <a:pt x="384" y="1556"/>
                  <a:pt x="384" y="1556"/>
                </a:cubicBezTo>
                <a:cubicBezTo>
                  <a:pt x="387" y="1556"/>
                  <a:pt x="387" y="1556"/>
                  <a:pt x="387" y="1556"/>
                </a:cubicBezTo>
                <a:cubicBezTo>
                  <a:pt x="384" y="1556"/>
                  <a:pt x="384" y="1556"/>
                  <a:pt x="384" y="1556"/>
                </a:cubicBezTo>
                <a:cubicBezTo>
                  <a:pt x="385" y="1558"/>
                  <a:pt x="385" y="1558"/>
                  <a:pt x="385" y="1558"/>
                </a:cubicBezTo>
                <a:cubicBezTo>
                  <a:pt x="383" y="1555"/>
                  <a:pt x="383" y="1555"/>
                  <a:pt x="383" y="1555"/>
                </a:cubicBezTo>
                <a:cubicBezTo>
                  <a:pt x="382" y="1558"/>
                  <a:pt x="382" y="1558"/>
                  <a:pt x="382" y="1558"/>
                </a:cubicBezTo>
                <a:cubicBezTo>
                  <a:pt x="383" y="1557"/>
                  <a:pt x="384" y="1558"/>
                  <a:pt x="384" y="1560"/>
                </a:cubicBezTo>
                <a:cubicBezTo>
                  <a:pt x="386" y="1561"/>
                  <a:pt x="386" y="1561"/>
                  <a:pt x="386" y="1561"/>
                </a:cubicBezTo>
                <a:cubicBezTo>
                  <a:pt x="384" y="1566"/>
                  <a:pt x="384" y="1566"/>
                  <a:pt x="384" y="1566"/>
                </a:cubicBezTo>
                <a:cubicBezTo>
                  <a:pt x="384" y="1567"/>
                  <a:pt x="384" y="1568"/>
                  <a:pt x="386" y="1568"/>
                </a:cubicBezTo>
                <a:cubicBezTo>
                  <a:pt x="386" y="1574"/>
                  <a:pt x="386" y="1574"/>
                  <a:pt x="386" y="1574"/>
                </a:cubicBezTo>
                <a:cubicBezTo>
                  <a:pt x="386" y="1575"/>
                  <a:pt x="386" y="1575"/>
                  <a:pt x="386" y="1575"/>
                </a:cubicBezTo>
                <a:cubicBezTo>
                  <a:pt x="386" y="1575"/>
                  <a:pt x="386" y="1575"/>
                  <a:pt x="386" y="1575"/>
                </a:cubicBezTo>
                <a:cubicBezTo>
                  <a:pt x="386" y="1581"/>
                  <a:pt x="386" y="1581"/>
                  <a:pt x="386" y="1581"/>
                </a:cubicBezTo>
                <a:cubicBezTo>
                  <a:pt x="388" y="1583"/>
                  <a:pt x="388" y="1583"/>
                  <a:pt x="388" y="1583"/>
                </a:cubicBezTo>
                <a:cubicBezTo>
                  <a:pt x="389" y="1588"/>
                  <a:pt x="389" y="1588"/>
                  <a:pt x="389" y="1588"/>
                </a:cubicBezTo>
                <a:cubicBezTo>
                  <a:pt x="389" y="1588"/>
                  <a:pt x="389" y="1588"/>
                  <a:pt x="389" y="1588"/>
                </a:cubicBezTo>
                <a:cubicBezTo>
                  <a:pt x="390" y="1588"/>
                  <a:pt x="390" y="1588"/>
                  <a:pt x="389" y="1588"/>
                </a:cubicBezTo>
                <a:cubicBezTo>
                  <a:pt x="386" y="1591"/>
                  <a:pt x="386" y="1591"/>
                  <a:pt x="386" y="1591"/>
                </a:cubicBezTo>
                <a:cubicBezTo>
                  <a:pt x="389" y="1593"/>
                  <a:pt x="389" y="1593"/>
                  <a:pt x="389" y="1593"/>
                </a:cubicBezTo>
                <a:cubicBezTo>
                  <a:pt x="390" y="1593"/>
                  <a:pt x="390" y="1593"/>
                  <a:pt x="390" y="1593"/>
                </a:cubicBezTo>
                <a:cubicBezTo>
                  <a:pt x="390" y="1594"/>
                  <a:pt x="390" y="1594"/>
                  <a:pt x="390" y="1594"/>
                </a:cubicBezTo>
                <a:cubicBezTo>
                  <a:pt x="390" y="1597"/>
                  <a:pt x="390" y="1597"/>
                  <a:pt x="390" y="1597"/>
                </a:cubicBezTo>
                <a:cubicBezTo>
                  <a:pt x="389" y="1595"/>
                  <a:pt x="389" y="1595"/>
                  <a:pt x="389" y="1595"/>
                </a:cubicBezTo>
                <a:cubicBezTo>
                  <a:pt x="388" y="1595"/>
                  <a:pt x="388" y="1594"/>
                  <a:pt x="387" y="1593"/>
                </a:cubicBezTo>
                <a:cubicBezTo>
                  <a:pt x="386" y="1597"/>
                  <a:pt x="386" y="1597"/>
                  <a:pt x="386" y="1597"/>
                </a:cubicBezTo>
                <a:cubicBezTo>
                  <a:pt x="389" y="1601"/>
                  <a:pt x="389" y="1601"/>
                  <a:pt x="389" y="1601"/>
                </a:cubicBezTo>
                <a:cubicBezTo>
                  <a:pt x="391" y="1603"/>
                  <a:pt x="391" y="1603"/>
                  <a:pt x="391" y="1603"/>
                </a:cubicBezTo>
                <a:cubicBezTo>
                  <a:pt x="391" y="1606"/>
                  <a:pt x="391" y="1606"/>
                  <a:pt x="391" y="1606"/>
                </a:cubicBezTo>
                <a:cubicBezTo>
                  <a:pt x="393" y="1605"/>
                  <a:pt x="393" y="1604"/>
                  <a:pt x="392" y="1606"/>
                </a:cubicBezTo>
                <a:cubicBezTo>
                  <a:pt x="392" y="1606"/>
                  <a:pt x="392" y="1606"/>
                  <a:pt x="391" y="1606"/>
                </a:cubicBezTo>
                <a:cubicBezTo>
                  <a:pt x="391" y="1607"/>
                  <a:pt x="391" y="1607"/>
                  <a:pt x="391" y="1607"/>
                </a:cubicBezTo>
                <a:cubicBezTo>
                  <a:pt x="391" y="1608"/>
                  <a:pt x="391" y="1608"/>
                  <a:pt x="391" y="1609"/>
                </a:cubicBezTo>
                <a:cubicBezTo>
                  <a:pt x="391" y="1609"/>
                  <a:pt x="392" y="1609"/>
                  <a:pt x="392" y="1608"/>
                </a:cubicBezTo>
                <a:cubicBezTo>
                  <a:pt x="394" y="1614"/>
                  <a:pt x="394" y="1614"/>
                  <a:pt x="394" y="1614"/>
                </a:cubicBezTo>
                <a:cubicBezTo>
                  <a:pt x="394" y="1617"/>
                  <a:pt x="394" y="1617"/>
                  <a:pt x="394" y="1617"/>
                </a:cubicBezTo>
                <a:cubicBezTo>
                  <a:pt x="395" y="1618"/>
                  <a:pt x="395" y="1619"/>
                  <a:pt x="396" y="1621"/>
                </a:cubicBezTo>
                <a:cubicBezTo>
                  <a:pt x="396" y="1620"/>
                  <a:pt x="396" y="1620"/>
                  <a:pt x="396" y="1620"/>
                </a:cubicBezTo>
                <a:cubicBezTo>
                  <a:pt x="397" y="1621"/>
                  <a:pt x="397" y="1621"/>
                  <a:pt x="396" y="1621"/>
                </a:cubicBezTo>
                <a:cubicBezTo>
                  <a:pt x="396" y="1621"/>
                  <a:pt x="396" y="1621"/>
                  <a:pt x="396" y="1621"/>
                </a:cubicBezTo>
                <a:cubicBezTo>
                  <a:pt x="398" y="1629"/>
                  <a:pt x="398" y="1629"/>
                  <a:pt x="398" y="1629"/>
                </a:cubicBezTo>
                <a:cubicBezTo>
                  <a:pt x="398" y="1627"/>
                  <a:pt x="398" y="1627"/>
                  <a:pt x="398" y="1629"/>
                </a:cubicBezTo>
                <a:cubicBezTo>
                  <a:pt x="398" y="1629"/>
                  <a:pt x="398" y="1629"/>
                  <a:pt x="398" y="1629"/>
                </a:cubicBezTo>
                <a:cubicBezTo>
                  <a:pt x="400" y="1636"/>
                  <a:pt x="400" y="1636"/>
                  <a:pt x="400" y="1636"/>
                </a:cubicBezTo>
                <a:cubicBezTo>
                  <a:pt x="400" y="1638"/>
                  <a:pt x="400" y="1638"/>
                  <a:pt x="400" y="1638"/>
                </a:cubicBezTo>
                <a:cubicBezTo>
                  <a:pt x="401" y="1638"/>
                  <a:pt x="401" y="1638"/>
                  <a:pt x="401" y="1638"/>
                </a:cubicBezTo>
                <a:cubicBezTo>
                  <a:pt x="401" y="1637"/>
                  <a:pt x="401" y="1637"/>
                  <a:pt x="401" y="1638"/>
                </a:cubicBezTo>
                <a:cubicBezTo>
                  <a:pt x="401" y="1638"/>
                  <a:pt x="401" y="1638"/>
                  <a:pt x="401" y="1638"/>
                </a:cubicBezTo>
                <a:cubicBezTo>
                  <a:pt x="400" y="1641"/>
                  <a:pt x="400" y="1641"/>
                  <a:pt x="400" y="1641"/>
                </a:cubicBezTo>
                <a:cubicBezTo>
                  <a:pt x="403" y="1641"/>
                  <a:pt x="403" y="1641"/>
                  <a:pt x="403" y="1641"/>
                </a:cubicBezTo>
                <a:cubicBezTo>
                  <a:pt x="406" y="1644"/>
                  <a:pt x="406" y="1644"/>
                  <a:pt x="406" y="1644"/>
                </a:cubicBezTo>
                <a:cubicBezTo>
                  <a:pt x="412" y="1657"/>
                  <a:pt x="412" y="1657"/>
                  <a:pt x="412" y="1657"/>
                </a:cubicBezTo>
                <a:cubicBezTo>
                  <a:pt x="414" y="1659"/>
                  <a:pt x="414" y="1659"/>
                  <a:pt x="414" y="1659"/>
                </a:cubicBezTo>
                <a:cubicBezTo>
                  <a:pt x="416" y="1665"/>
                  <a:pt x="416" y="1665"/>
                  <a:pt x="416" y="1665"/>
                </a:cubicBezTo>
                <a:cubicBezTo>
                  <a:pt x="418" y="1667"/>
                  <a:pt x="418" y="1667"/>
                  <a:pt x="418" y="1667"/>
                </a:cubicBezTo>
                <a:cubicBezTo>
                  <a:pt x="418" y="1671"/>
                  <a:pt x="418" y="1671"/>
                  <a:pt x="418" y="1671"/>
                </a:cubicBezTo>
                <a:cubicBezTo>
                  <a:pt x="419" y="1672"/>
                  <a:pt x="419" y="1672"/>
                  <a:pt x="419" y="1672"/>
                </a:cubicBezTo>
                <a:cubicBezTo>
                  <a:pt x="420" y="1677"/>
                  <a:pt x="420" y="1677"/>
                  <a:pt x="420" y="1677"/>
                </a:cubicBezTo>
                <a:cubicBezTo>
                  <a:pt x="424" y="1675"/>
                  <a:pt x="424" y="1675"/>
                  <a:pt x="424" y="1675"/>
                </a:cubicBezTo>
                <a:cubicBezTo>
                  <a:pt x="422" y="1679"/>
                  <a:pt x="422" y="1679"/>
                  <a:pt x="422" y="1679"/>
                </a:cubicBezTo>
                <a:cubicBezTo>
                  <a:pt x="430" y="1681"/>
                  <a:pt x="430" y="1681"/>
                  <a:pt x="430" y="1681"/>
                </a:cubicBezTo>
                <a:cubicBezTo>
                  <a:pt x="426" y="1682"/>
                  <a:pt x="426" y="1682"/>
                  <a:pt x="426" y="1682"/>
                </a:cubicBezTo>
                <a:cubicBezTo>
                  <a:pt x="422" y="1682"/>
                  <a:pt x="422" y="1682"/>
                  <a:pt x="422" y="1682"/>
                </a:cubicBezTo>
                <a:cubicBezTo>
                  <a:pt x="426" y="1687"/>
                  <a:pt x="426" y="1687"/>
                  <a:pt x="426" y="1687"/>
                </a:cubicBezTo>
                <a:cubicBezTo>
                  <a:pt x="429" y="1687"/>
                  <a:pt x="429" y="1687"/>
                  <a:pt x="429" y="1687"/>
                </a:cubicBezTo>
                <a:cubicBezTo>
                  <a:pt x="434" y="1701"/>
                  <a:pt x="434" y="1701"/>
                  <a:pt x="434" y="1701"/>
                </a:cubicBezTo>
                <a:cubicBezTo>
                  <a:pt x="432" y="1705"/>
                  <a:pt x="432" y="1705"/>
                  <a:pt x="432" y="1705"/>
                </a:cubicBezTo>
                <a:cubicBezTo>
                  <a:pt x="432" y="1707"/>
                  <a:pt x="432" y="1707"/>
                  <a:pt x="432" y="1707"/>
                </a:cubicBezTo>
                <a:cubicBezTo>
                  <a:pt x="437" y="1711"/>
                  <a:pt x="437" y="1711"/>
                  <a:pt x="437" y="1711"/>
                </a:cubicBezTo>
                <a:cubicBezTo>
                  <a:pt x="439" y="1713"/>
                  <a:pt x="439" y="1713"/>
                  <a:pt x="439" y="1713"/>
                </a:cubicBezTo>
                <a:cubicBezTo>
                  <a:pt x="441" y="1715"/>
                  <a:pt x="441" y="1715"/>
                  <a:pt x="441" y="1715"/>
                </a:cubicBezTo>
                <a:cubicBezTo>
                  <a:pt x="442" y="1717"/>
                  <a:pt x="442" y="1717"/>
                  <a:pt x="442" y="1717"/>
                </a:cubicBezTo>
                <a:cubicBezTo>
                  <a:pt x="441" y="1720"/>
                  <a:pt x="441" y="1720"/>
                  <a:pt x="441" y="1720"/>
                </a:cubicBezTo>
                <a:cubicBezTo>
                  <a:pt x="445" y="1723"/>
                  <a:pt x="445" y="1723"/>
                  <a:pt x="445" y="1723"/>
                </a:cubicBezTo>
                <a:cubicBezTo>
                  <a:pt x="446" y="1726"/>
                  <a:pt x="446" y="1726"/>
                  <a:pt x="446" y="1726"/>
                </a:cubicBezTo>
                <a:cubicBezTo>
                  <a:pt x="447" y="1727"/>
                  <a:pt x="447" y="1727"/>
                  <a:pt x="447" y="1727"/>
                </a:cubicBezTo>
                <a:cubicBezTo>
                  <a:pt x="448" y="1729"/>
                  <a:pt x="447" y="1730"/>
                  <a:pt x="445" y="1730"/>
                </a:cubicBezTo>
                <a:cubicBezTo>
                  <a:pt x="452" y="1734"/>
                  <a:pt x="452" y="1734"/>
                  <a:pt x="452" y="1734"/>
                </a:cubicBezTo>
                <a:cubicBezTo>
                  <a:pt x="454" y="1736"/>
                  <a:pt x="454" y="1736"/>
                  <a:pt x="454" y="1736"/>
                </a:cubicBezTo>
                <a:cubicBezTo>
                  <a:pt x="453" y="1735"/>
                  <a:pt x="453" y="1734"/>
                  <a:pt x="454" y="1735"/>
                </a:cubicBezTo>
                <a:cubicBezTo>
                  <a:pt x="454" y="1735"/>
                  <a:pt x="454" y="1735"/>
                  <a:pt x="455" y="1735"/>
                </a:cubicBezTo>
                <a:cubicBezTo>
                  <a:pt x="455" y="1735"/>
                  <a:pt x="455" y="1735"/>
                  <a:pt x="455" y="1735"/>
                </a:cubicBezTo>
                <a:cubicBezTo>
                  <a:pt x="455" y="1734"/>
                  <a:pt x="455" y="1734"/>
                  <a:pt x="455" y="1734"/>
                </a:cubicBezTo>
                <a:cubicBezTo>
                  <a:pt x="457" y="1737"/>
                  <a:pt x="457" y="1737"/>
                  <a:pt x="457" y="1737"/>
                </a:cubicBezTo>
                <a:cubicBezTo>
                  <a:pt x="459" y="1742"/>
                  <a:pt x="459" y="1742"/>
                  <a:pt x="459" y="1742"/>
                </a:cubicBezTo>
                <a:cubicBezTo>
                  <a:pt x="459" y="1745"/>
                  <a:pt x="459" y="1745"/>
                  <a:pt x="459" y="1745"/>
                </a:cubicBezTo>
                <a:cubicBezTo>
                  <a:pt x="461" y="1751"/>
                  <a:pt x="461" y="1751"/>
                  <a:pt x="461" y="1751"/>
                </a:cubicBezTo>
                <a:cubicBezTo>
                  <a:pt x="465" y="1752"/>
                  <a:pt x="465" y="1752"/>
                  <a:pt x="465" y="1752"/>
                </a:cubicBezTo>
                <a:cubicBezTo>
                  <a:pt x="467" y="1760"/>
                  <a:pt x="467" y="1760"/>
                  <a:pt x="467" y="1760"/>
                </a:cubicBezTo>
                <a:cubicBezTo>
                  <a:pt x="468" y="1759"/>
                  <a:pt x="468" y="1759"/>
                  <a:pt x="468" y="1759"/>
                </a:cubicBezTo>
                <a:cubicBezTo>
                  <a:pt x="467" y="1761"/>
                  <a:pt x="467" y="1761"/>
                  <a:pt x="467" y="1761"/>
                </a:cubicBezTo>
                <a:cubicBezTo>
                  <a:pt x="476" y="1790"/>
                  <a:pt x="476" y="1790"/>
                  <a:pt x="476" y="1790"/>
                </a:cubicBezTo>
                <a:cubicBezTo>
                  <a:pt x="476" y="1792"/>
                  <a:pt x="476" y="1792"/>
                  <a:pt x="476" y="1792"/>
                </a:cubicBezTo>
                <a:cubicBezTo>
                  <a:pt x="480" y="1795"/>
                  <a:pt x="480" y="1795"/>
                  <a:pt x="480" y="1795"/>
                </a:cubicBezTo>
                <a:cubicBezTo>
                  <a:pt x="480" y="1796"/>
                  <a:pt x="480" y="1796"/>
                  <a:pt x="480" y="1796"/>
                </a:cubicBezTo>
                <a:cubicBezTo>
                  <a:pt x="481" y="1796"/>
                  <a:pt x="481" y="1796"/>
                  <a:pt x="481" y="1795"/>
                </a:cubicBezTo>
                <a:cubicBezTo>
                  <a:pt x="484" y="1803"/>
                  <a:pt x="484" y="1803"/>
                  <a:pt x="484" y="1803"/>
                </a:cubicBezTo>
                <a:cubicBezTo>
                  <a:pt x="488" y="1823"/>
                  <a:pt x="492" y="1843"/>
                  <a:pt x="496" y="1862"/>
                </a:cubicBezTo>
                <a:cubicBezTo>
                  <a:pt x="497" y="1862"/>
                  <a:pt x="497" y="1862"/>
                  <a:pt x="497" y="1862"/>
                </a:cubicBezTo>
                <a:cubicBezTo>
                  <a:pt x="504" y="1891"/>
                  <a:pt x="504" y="1891"/>
                  <a:pt x="504" y="1891"/>
                </a:cubicBezTo>
                <a:cubicBezTo>
                  <a:pt x="506" y="1892"/>
                  <a:pt x="506" y="1892"/>
                  <a:pt x="506" y="1892"/>
                </a:cubicBezTo>
                <a:cubicBezTo>
                  <a:pt x="529" y="1946"/>
                  <a:pt x="529" y="1946"/>
                  <a:pt x="529" y="1946"/>
                </a:cubicBezTo>
                <a:cubicBezTo>
                  <a:pt x="535" y="1950"/>
                  <a:pt x="535" y="1950"/>
                  <a:pt x="535" y="1950"/>
                </a:cubicBezTo>
                <a:cubicBezTo>
                  <a:pt x="536" y="1951"/>
                  <a:pt x="536" y="1951"/>
                  <a:pt x="536" y="1951"/>
                </a:cubicBezTo>
                <a:cubicBezTo>
                  <a:pt x="548" y="1965"/>
                  <a:pt x="548" y="1965"/>
                  <a:pt x="548" y="1965"/>
                </a:cubicBezTo>
                <a:cubicBezTo>
                  <a:pt x="549" y="1965"/>
                  <a:pt x="549" y="1965"/>
                  <a:pt x="549" y="1965"/>
                </a:cubicBezTo>
                <a:cubicBezTo>
                  <a:pt x="549" y="1965"/>
                  <a:pt x="549" y="1965"/>
                  <a:pt x="549" y="1965"/>
                </a:cubicBezTo>
                <a:cubicBezTo>
                  <a:pt x="550" y="1966"/>
                  <a:pt x="550" y="1966"/>
                  <a:pt x="550" y="1966"/>
                </a:cubicBezTo>
                <a:cubicBezTo>
                  <a:pt x="550" y="1967"/>
                  <a:pt x="550" y="1967"/>
                  <a:pt x="550" y="1967"/>
                </a:cubicBezTo>
                <a:cubicBezTo>
                  <a:pt x="552" y="1967"/>
                  <a:pt x="552" y="1967"/>
                  <a:pt x="552" y="1967"/>
                </a:cubicBezTo>
                <a:cubicBezTo>
                  <a:pt x="558" y="1981"/>
                  <a:pt x="558" y="1981"/>
                  <a:pt x="558" y="1981"/>
                </a:cubicBezTo>
                <a:cubicBezTo>
                  <a:pt x="558" y="1980"/>
                  <a:pt x="558" y="1980"/>
                  <a:pt x="558" y="1980"/>
                </a:cubicBezTo>
                <a:cubicBezTo>
                  <a:pt x="558" y="1981"/>
                  <a:pt x="558" y="1981"/>
                  <a:pt x="558" y="1981"/>
                </a:cubicBezTo>
                <a:cubicBezTo>
                  <a:pt x="559" y="1981"/>
                  <a:pt x="559" y="1981"/>
                  <a:pt x="559" y="1981"/>
                </a:cubicBezTo>
                <a:cubicBezTo>
                  <a:pt x="558" y="1981"/>
                  <a:pt x="558" y="1981"/>
                  <a:pt x="558" y="1981"/>
                </a:cubicBezTo>
                <a:cubicBezTo>
                  <a:pt x="558" y="1982"/>
                  <a:pt x="558" y="1982"/>
                  <a:pt x="558" y="1982"/>
                </a:cubicBezTo>
                <a:cubicBezTo>
                  <a:pt x="558" y="1982"/>
                  <a:pt x="558" y="1982"/>
                  <a:pt x="558" y="1982"/>
                </a:cubicBezTo>
                <a:cubicBezTo>
                  <a:pt x="562" y="1988"/>
                  <a:pt x="562" y="1988"/>
                  <a:pt x="562" y="1988"/>
                </a:cubicBezTo>
                <a:cubicBezTo>
                  <a:pt x="564" y="1989"/>
                  <a:pt x="566" y="1992"/>
                  <a:pt x="568" y="1997"/>
                </a:cubicBezTo>
                <a:cubicBezTo>
                  <a:pt x="568" y="1998"/>
                  <a:pt x="569" y="1998"/>
                  <a:pt x="569" y="1999"/>
                </a:cubicBezTo>
                <a:cubicBezTo>
                  <a:pt x="572" y="2006"/>
                  <a:pt x="572" y="2006"/>
                  <a:pt x="572" y="2006"/>
                </a:cubicBezTo>
                <a:cubicBezTo>
                  <a:pt x="572" y="2007"/>
                  <a:pt x="572" y="2007"/>
                  <a:pt x="572" y="2007"/>
                </a:cubicBezTo>
                <a:cubicBezTo>
                  <a:pt x="576" y="2015"/>
                  <a:pt x="576" y="2015"/>
                  <a:pt x="576" y="2015"/>
                </a:cubicBezTo>
                <a:cubicBezTo>
                  <a:pt x="583" y="2040"/>
                  <a:pt x="583" y="2040"/>
                  <a:pt x="583" y="2040"/>
                </a:cubicBezTo>
                <a:cubicBezTo>
                  <a:pt x="593" y="2063"/>
                  <a:pt x="593" y="2063"/>
                  <a:pt x="593" y="2063"/>
                </a:cubicBezTo>
                <a:cubicBezTo>
                  <a:pt x="606" y="2104"/>
                  <a:pt x="606" y="2104"/>
                  <a:pt x="606" y="2104"/>
                </a:cubicBezTo>
                <a:cubicBezTo>
                  <a:pt x="609" y="2123"/>
                  <a:pt x="613" y="2141"/>
                  <a:pt x="619" y="2160"/>
                </a:cubicBezTo>
                <a:cubicBezTo>
                  <a:pt x="620" y="2161"/>
                  <a:pt x="620" y="2161"/>
                  <a:pt x="620" y="2161"/>
                </a:cubicBezTo>
                <a:cubicBezTo>
                  <a:pt x="620" y="2160"/>
                  <a:pt x="621" y="2160"/>
                  <a:pt x="622" y="2162"/>
                </a:cubicBezTo>
                <a:cubicBezTo>
                  <a:pt x="622" y="2163"/>
                  <a:pt x="622" y="2164"/>
                  <a:pt x="622" y="2165"/>
                </a:cubicBezTo>
                <a:cubicBezTo>
                  <a:pt x="625" y="2167"/>
                  <a:pt x="625" y="2167"/>
                  <a:pt x="625" y="2167"/>
                </a:cubicBezTo>
                <a:cubicBezTo>
                  <a:pt x="624" y="2171"/>
                  <a:pt x="624" y="2171"/>
                  <a:pt x="624" y="2171"/>
                </a:cubicBezTo>
                <a:cubicBezTo>
                  <a:pt x="626" y="2173"/>
                  <a:pt x="626" y="2173"/>
                  <a:pt x="626" y="2173"/>
                </a:cubicBezTo>
                <a:cubicBezTo>
                  <a:pt x="626" y="2174"/>
                  <a:pt x="626" y="2174"/>
                  <a:pt x="626" y="2174"/>
                </a:cubicBezTo>
                <a:cubicBezTo>
                  <a:pt x="638" y="2201"/>
                  <a:pt x="658" y="2225"/>
                  <a:pt x="688" y="2246"/>
                </a:cubicBezTo>
                <a:cubicBezTo>
                  <a:pt x="688" y="2248"/>
                  <a:pt x="688" y="2248"/>
                  <a:pt x="688" y="2248"/>
                </a:cubicBezTo>
                <a:cubicBezTo>
                  <a:pt x="707" y="2251"/>
                  <a:pt x="707" y="2251"/>
                  <a:pt x="707" y="2251"/>
                </a:cubicBezTo>
                <a:cubicBezTo>
                  <a:pt x="706" y="2248"/>
                  <a:pt x="706" y="2248"/>
                  <a:pt x="706" y="2248"/>
                </a:cubicBezTo>
                <a:cubicBezTo>
                  <a:pt x="709" y="2246"/>
                  <a:pt x="709" y="2246"/>
                  <a:pt x="709" y="2246"/>
                </a:cubicBezTo>
                <a:cubicBezTo>
                  <a:pt x="721" y="2244"/>
                  <a:pt x="721" y="2244"/>
                  <a:pt x="721" y="2244"/>
                </a:cubicBezTo>
                <a:cubicBezTo>
                  <a:pt x="724" y="2242"/>
                  <a:pt x="724" y="2242"/>
                  <a:pt x="724" y="2242"/>
                </a:cubicBezTo>
                <a:cubicBezTo>
                  <a:pt x="726" y="2238"/>
                  <a:pt x="726" y="2238"/>
                  <a:pt x="726" y="2238"/>
                </a:cubicBezTo>
                <a:cubicBezTo>
                  <a:pt x="744" y="2229"/>
                  <a:pt x="744" y="2229"/>
                  <a:pt x="744" y="2229"/>
                </a:cubicBezTo>
                <a:cubicBezTo>
                  <a:pt x="750" y="2219"/>
                  <a:pt x="750" y="2219"/>
                  <a:pt x="750" y="2219"/>
                </a:cubicBezTo>
                <a:cubicBezTo>
                  <a:pt x="749" y="2205"/>
                  <a:pt x="749" y="2205"/>
                  <a:pt x="749" y="2205"/>
                </a:cubicBezTo>
                <a:cubicBezTo>
                  <a:pt x="751" y="2201"/>
                  <a:pt x="751" y="2201"/>
                  <a:pt x="751" y="2201"/>
                </a:cubicBezTo>
                <a:cubicBezTo>
                  <a:pt x="755" y="2199"/>
                  <a:pt x="755" y="2199"/>
                  <a:pt x="755" y="2199"/>
                </a:cubicBezTo>
                <a:cubicBezTo>
                  <a:pt x="755" y="2199"/>
                  <a:pt x="755" y="2199"/>
                  <a:pt x="755" y="2199"/>
                </a:cubicBezTo>
                <a:cubicBezTo>
                  <a:pt x="755" y="2199"/>
                  <a:pt x="754" y="2199"/>
                  <a:pt x="754" y="2199"/>
                </a:cubicBezTo>
                <a:cubicBezTo>
                  <a:pt x="754" y="2199"/>
                  <a:pt x="753" y="2199"/>
                  <a:pt x="753" y="2199"/>
                </a:cubicBezTo>
                <a:cubicBezTo>
                  <a:pt x="752" y="2199"/>
                  <a:pt x="752" y="2199"/>
                  <a:pt x="752" y="2199"/>
                </a:cubicBezTo>
                <a:cubicBezTo>
                  <a:pt x="752" y="2199"/>
                  <a:pt x="752" y="2199"/>
                  <a:pt x="751" y="2199"/>
                </a:cubicBezTo>
                <a:cubicBezTo>
                  <a:pt x="752" y="2190"/>
                  <a:pt x="752" y="2190"/>
                  <a:pt x="752" y="2190"/>
                </a:cubicBezTo>
                <a:cubicBezTo>
                  <a:pt x="760" y="2180"/>
                  <a:pt x="760" y="2180"/>
                  <a:pt x="760" y="2180"/>
                </a:cubicBezTo>
                <a:cubicBezTo>
                  <a:pt x="760" y="2180"/>
                  <a:pt x="760" y="2179"/>
                  <a:pt x="760" y="2179"/>
                </a:cubicBezTo>
                <a:cubicBezTo>
                  <a:pt x="760" y="2178"/>
                  <a:pt x="760" y="2178"/>
                  <a:pt x="760" y="2180"/>
                </a:cubicBezTo>
                <a:cubicBezTo>
                  <a:pt x="776" y="2169"/>
                  <a:pt x="776" y="2169"/>
                  <a:pt x="776" y="2169"/>
                </a:cubicBezTo>
                <a:cubicBezTo>
                  <a:pt x="778" y="2170"/>
                  <a:pt x="778" y="2170"/>
                  <a:pt x="778" y="2170"/>
                </a:cubicBezTo>
                <a:cubicBezTo>
                  <a:pt x="783" y="2170"/>
                  <a:pt x="783" y="2170"/>
                  <a:pt x="783" y="2170"/>
                </a:cubicBezTo>
                <a:cubicBezTo>
                  <a:pt x="785" y="2168"/>
                  <a:pt x="785" y="2168"/>
                  <a:pt x="785" y="2168"/>
                </a:cubicBezTo>
                <a:cubicBezTo>
                  <a:pt x="789" y="2168"/>
                  <a:pt x="789" y="2168"/>
                  <a:pt x="789" y="2168"/>
                </a:cubicBezTo>
                <a:cubicBezTo>
                  <a:pt x="789" y="2165"/>
                  <a:pt x="789" y="2165"/>
                  <a:pt x="789" y="2165"/>
                </a:cubicBezTo>
                <a:cubicBezTo>
                  <a:pt x="791" y="2165"/>
                  <a:pt x="791" y="2165"/>
                  <a:pt x="791" y="2165"/>
                </a:cubicBezTo>
                <a:cubicBezTo>
                  <a:pt x="794" y="2166"/>
                  <a:pt x="794" y="2166"/>
                  <a:pt x="794" y="2166"/>
                </a:cubicBezTo>
                <a:cubicBezTo>
                  <a:pt x="795" y="2163"/>
                  <a:pt x="795" y="2163"/>
                  <a:pt x="795" y="2163"/>
                </a:cubicBezTo>
                <a:cubicBezTo>
                  <a:pt x="809" y="2160"/>
                  <a:pt x="809" y="2160"/>
                  <a:pt x="809" y="2160"/>
                </a:cubicBezTo>
                <a:cubicBezTo>
                  <a:pt x="812" y="2158"/>
                  <a:pt x="816" y="2158"/>
                  <a:pt x="821" y="2160"/>
                </a:cubicBezTo>
                <a:cubicBezTo>
                  <a:pt x="829" y="2160"/>
                  <a:pt x="829" y="2160"/>
                  <a:pt x="829" y="2160"/>
                </a:cubicBezTo>
                <a:cubicBezTo>
                  <a:pt x="832" y="2160"/>
                  <a:pt x="832" y="2160"/>
                  <a:pt x="832" y="2160"/>
                </a:cubicBezTo>
                <a:cubicBezTo>
                  <a:pt x="848" y="2168"/>
                  <a:pt x="848" y="2168"/>
                  <a:pt x="848" y="2168"/>
                </a:cubicBezTo>
                <a:cubicBezTo>
                  <a:pt x="839" y="2159"/>
                  <a:pt x="839" y="2159"/>
                  <a:pt x="839" y="2159"/>
                </a:cubicBezTo>
                <a:cubicBezTo>
                  <a:pt x="840" y="2156"/>
                  <a:pt x="840" y="2156"/>
                  <a:pt x="840" y="2156"/>
                </a:cubicBezTo>
                <a:cubicBezTo>
                  <a:pt x="837" y="2155"/>
                  <a:pt x="837" y="2155"/>
                  <a:pt x="837" y="2155"/>
                </a:cubicBezTo>
                <a:cubicBezTo>
                  <a:pt x="835" y="2157"/>
                  <a:pt x="835" y="2157"/>
                  <a:pt x="835" y="2157"/>
                </a:cubicBezTo>
                <a:cubicBezTo>
                  <a:pt x="822" y="2160"/>
                  <a:pt x="813" y="2155"/>
                  <a:pt x="807" y="2142"/>
                </a:cubicBezTo>
                <a:cubicBezTo>
                  <a:pt x="810" y="2134"/>
                  <a:pt x="810" y="2134"/>
                  <a:pt x="810" y="2134"/>
                </a:cubicBezTo>
                <a:cubicBezTo>
                  <a:pt x="813" y="2130"/>
                  <a:pt x="813" y="2130"/>
                  <a:pt x="813" y="2130"/>
                </a:cubicBezTo>
                <a:cubicBezTo>
                  <a:pt x="813" y="2128"/>
                  <a:pt x="813" y="2128"/>
                  <a:pt x="813" y="2128"/>
                </a:cubicBezTo>
                <a:cubicBezTo>
                  <a:pt x="835" y="2099"/>
                  <a:pt x="835" y="2099"/>
                  <a:pt x="835" y="2099"/>
                </a:cubicBezTo>
                <a:cubicBezTo>
                  <a:pt x="832" y="2095"/>
                  <a:pt x="832" y="2095"/>
                  <a:pt x="832" y="2095"/>
                </a:cubicBezTo>
                <a:cubicBezTo>
                  <a:pt x="833" y="2089"/>
                  <a:pt x="833" y="2089"/>
                  <a:pt x="833" y="2089"/>
                </a:cubicBezTo>
                <a:cubicBezTo>
                  <a:pt x="836" y="2086"/>
                  <a:pt x="836" y="2086"/>
                  <a:pt x="836" y="2086"/>
                </a:cubicBezTo>
                <a:cubicBezTo>
                  <a:pt x="836" y="2085"/>
                  <a:pt x="836" y="2085"/>
                  <a:pt x="836" y="2085"/>
                </a:cubicBezTo>
                <a:cubicBezTo>
                  <a:pt x="836" y="2085"/>
                  <a:pt x="836" y="2085"/>
                  <a:pt x="835" y="2085"/>
                </a:cubicBezTo>
                <a:cubicBezTo>
                  <a:pt x="844" y="2077"/>
                  <a:pt x="844" y="2077"/>
                  <a:pt x="844" y="2077"/>
                </a:cubicBezTo>
                <a:cubicBezTo>
                  <a:pt x="857" y="2079"/>
                  <a:pt x="869" y="2080"/>
                  <a:pt x="880" y="2080"/>
                </a:cubicBezTo>
                <a:cubicBezTo>
                  <a:pt x="878" y="1997"/>
                  <a:pt x="878" y="1997"/>
                  <a:pt x="878" y="1997"/>
                </a:cubicBezTo>
                <a:cubicBezTo>
                  <a:pt x="874" y="1989"/>
                  <a:pt x="872" y="1981"/>
                  <a:pt x="872" y="1973"/>
                </a:cubicBezTo>
                <a:cubicBezTo>
                  <a:pt x="875" y="1966"/>
                  <a:pt x="875" y="1966"/>
                  <a:pt x="875" y="1966"/>
                </a:cubicBezTo>
                <a:cubicBezTo>
                  <a:pt x="874" y="1966"/>
                  <a:pt x="874" y="1966"/>
                  <a:pt x="874" y="1966"/>
                </a:cubicBezTo>
                <a:cubicBezTo>
                  <a:pt x="874" y="1965"/>
                  <a:pt x="874" y="1965"/>
                  <a:pt x="874" y="1965"/>
                </a:cubicBezTo>
                <a:cubicBezTo>
                  <a:pt x="878" y="1954"/>
                  <a:pt x="878" y="1954"/>
                  <a:pt x="878" y="1954"/>
                </a:cubicBezTo>
                <a:cubicBezTo>
                  <a:pt x="877" y="1953"/>
                  <a:pt x="877" y="1953"/>
                  <a:pt x="877" y="1953"/>
                </a:cubicBezTo>
                <a:cubicBezTo>
                  <a:pt x="878" y="1953"/>
                  <a:pt x="878" y="1953"/>
                  <a:pt x="878" y="1953"/>
                </a:cubicBezTo>
                <a:cubicBezTo>
                  <a:pt x="893" y="1923"/>
                  <a:pt x="893" y="1923"/>
                  <a:pt x="893" y="1923"/>
                </a:cubicBezTo>
                <a:cubicBezTo>
                  <a:pt x="895" y="1920"/>
                  <a:pt x="895" y="1920"/>
                  <a:pt x="895" y="1920"/>
                </a:cubicBezTo>
                <a:cubicBezTo>
                  <a:pt x="895" y="1920"/>
                  <a:pt x="895" y="1920"/>
                  <a:pt x="895" y="1920"/>
                </a:cubicBezTo>
                <a:cubicBezTo>
                  <a:pt x="895" y="1920"/>
                  <a:pt x="895" y="1920"/>
                  <a:pt x="895" y="1920"/>
                </a:cubicBezTo>
                <a:cubicBezTo>
                  <a:pt x="900" y="1913"/>
                  <a:pt x="900" y="1913"/>
                  <a:pt x="900" y="1913"/>
                </a:cubicBezTo>
                <a:cubicBezTo>
                  <a:pt x="904" y="1903"/>
                  <a:pt x="904" y="1903"/>
                  <a:pt x="904" y="1903"/>
                </a:cubicBezTo>
                <a:cubicBezTo>
                  <a:pt x="904" y="1902"/>
                  <a:pt x="904" y="1902"/>
                  <a:pt x="904" y="1902"/>
                </a:cubicBezTo>
                <a:cubicBezTo>
                  <a:pt x="906" y="1898"/>
                  <a:pt x="908" y="1894"/>
                  <a:pt x="910" y="1890"/>
                </a:cubicBezTo>
                <a:cubicBezTo>
                  <a:pt x="911" y="1888"/>
                  <a:pt x="910" y="1886"/>
                  <a:pt x="908" y="1884"/>
                </a:cubicBezTo>
                <a:cubicBezTo>
                  <a:pt x="911" y="1868"/>
                  <a:pt x="911" y="1868"/>
                  <a:pt x="911" y="1868"/>
                </a:cubicBezTo>
                <a:cubicBezTo>
                  <a:pt x="914" y="1862"/>
                  <a:pt x="914" y="1862"/>
                  <a:pt x="914" y="1862"/>
                </a:cubicBezTo>
                <a:cubicBezTo>
                  <a:pt x="913" y="1860"/>
                  <a:pt x="913" y="1860"/>
                  <a:pt x="913" y="1860"/>
                </a:cubicBezTo>
                <a:cubicBezTo>
                  <a:pt x="915" y="1851"/>
                  <a:pt x="915" y="1851"/>
                  <a:pt x="915" y="1851"/>
                </a:cubicBezTo>
                <a:cubicBezTo>
                  <a:pt x="916" y="1849"/>
                  <a:pt x="916" y="1849"/>
                  <a:pt x="916" y="1849"/>
                </a:cubicBezTo>
                <a:cubicBezTo>
                  <a:pt x="915" y="1835"/>
                  <a:pt x="915" y="1835"/>
                  <a:pt x="915" y="1835"/>
                </a:cubicBezTo>
                <a:cubicBezTo>
                  <a:pt x="908" y="1827"/>
                  <a:pt x="906" y="1819"/>
                  <a:pt x="910" y="1809"/>
                </a:cubicBezTo>
                <a:cubicBezTo>
                  <a:pt x="899" y="1789"/>
                  <a:pt x="898" y="1769"/>
                  <a:pt x="905" y="1748"/>
                </a:cubicBezTo>
                <a:cubicBezTo>
                  <a:pt x="905" y="1747"/>
                  <a:pt x="905" y="1747"/>
                  <a:pt x="905" y="1747"/>
                </a:cubicBezTo>
                <a:cubicBezTo>
                  <a:pt x="900" y="1735"/>
                  <a:pt x="900" y="1735"/>
                  <a:pt x="900" y="1735"/>
                </a:cubicBezTo>
                <a:cubicBezTo>
                  <a:pt x="898" y="1734"/>
                  <a:pt x="898" y="1734"/>
                  <a:pt x="898" y="1734"/>
                </a:cubicBezTo>
                <a:cubicBezTo>
                  <a:pt x="893" y="1709"/>
                  <a:pt x="893" y="1709"/>
                  <a:pt x="893" y="1709"/>
                </a:cubicBezTo>
                <a:cubicBezTo>
                  <a:pt x="895" y="1699"/>
                  <a:pt x="895" y="1699"/>
                  <a:pt x="895" y="1699"/>
                </a:cubicBezTo>
                <a:cubicBezTo>
                  <a:pt x="896" y="1693"/>
                  <a:pt x="899" y="1687"/>
                  <a:pt x="903" y="1681"/>
                </a:cubicBezTo>
                <a:cubicBezTo>
                  <a:pt x="904" y="1680"/>
                  <a:pt x="904" y="1680"/>
                  <a:pt x="905" y="1679"/>
                </a:cubicBezTo>
                <a:cubicBezTo>
                  <a:pt x="909" y="1659"/>
                  <a:pt x="922" y="1648"/>
                  <a:pt x="943" y="1646"/>
                </a:cubicBezTo>
                <a:cubicBezTo>
                  <a:pt x="950" y="1648"/>
                  <a:pt x="950" y="1648"/>
                  <a:pt x="950" y="1648"/>
                </a:cubicBezTo>
                <a:cubicBezTo>
                  <a:pt x="951" y="1649"/>
                  <a:pt x="951" y="1649"/>
                  <a:pt x="951" y="1649"/>
                </a:cubicBezTo>
                <a:cubicBezTo>
                  <a:pt x="951" y="1651"/>
                  <a:pt x="951" y="1652"/>
                  <a:pt x="951" y="1653"/>
                </a:cubicBezTo>
                <a:cubicBezTo>
                  <a:pt x="950" y="1652"/>
                  <a:pt x="950" y="1652"/>
                  <a:pt x="950" y="1652"/>
                </a:cubicBezTo>
                <a:cubicBezTo>
                  <a:pt x="951" y="1656"/>
                  <a:pt x="951" y="1656"/>
                  <a:pt x="951" y="1656"/>
                </a:cubicBezTo>
                <a:cubicBezTo>
                  <a:pt x="952" y="1659"/>
                  <a:pt x="952" y="1659"/>
                  <a:pt x="952" y="1659"/>
                </a:cubicBezTo>
                <a:cubicBezTo>
                  <a:pt x="961" y="1659"/>
                  <a:pt x="961" y="1659"/>
                  <a:pt x="961" y="1659"/>
                </a:cubicBezTo>
                <a:cubicBezTo>
                  <a:pt x="968" y="1655"/>
                  <a:pt x="968" y="1655"/>
                  <a:pt x="968" y="1655"/>
                </a:cubicBezTo>
                <a:cubicBezTo>
                  <a:pt x="965" y="1655"/>
                  <a:pt x="964" y="1653"/>
                  <a:pt x="966" y="1649"/>
                </a:cubicBezTo>
                <a:cubicBezTo>
                  <a:pt x="966" y="1649"/>
                  <a:pt x="966" y="1648"/>
                  <a:pt x="966" y="1648"/>
                </a:cubicBezTo>
                <a:cubicBezTo>
                  <a:pt x="977" y="1639"/>
                  <a:pt x="977" y="1639"/>
                  <a:pt x="977" y="1639"/>
                </a:cubicBezTo>
                <a:cubicBezTo>
                  <a:pt x="981" y="1626"/>
                  <a:pt x="981" y="1626"/>
                  <a:pt x="981" y="1626"/>
                </a:cubicBezTo>
                <a:cubicBezTo>
                  <a:pt x="980" y="1626"/>
                  <a:pt x="980" y="1626"/>
                  <a:pt x="980" y="1626"/>
                </a:cubicBezTo>
                <a:cubicBezTo>
                  <a:pt x="980" y="1625"/>
                  <a:pt x="980" y="1625"/>
                  <a:pt x="981" y="1625"/>
                </a:cubicBezTo>
                <a:cubicBezTo>
                  <a:pt x="981" y="1623"/>
                  <a:pt x="981" y="1623"/>
                  <a:pt x="981" y="1623"/>
                </a:cubicBezTo>
                <a:cubicBezTo>
                  <a:pt x="983" y="1617"/>
                  <a:pt x="986" y="1613"/>
                  <a:pt x="991" y="1611"/>
                </a:cubicBezTo>
                <a:cubicBezTo>
                  <a:pt x="992" y="1611"/>
                  <a:pt x="993" y="1611"/>
                  <a:pt x="994" y="1611"/>
                </a:cubicBezTo>
                <a:cubicBezTo>
                  <a:pt x="1019" y="1611"/>
                  <a:pt x="1019" y="1611"/>
                  <a:pt x="1019" y="1611"/>
                </a:cubicBezTo>
                <a:cubicBezTo>
                  <a:pt x="1036" y="1606"/>
                  <a:pt x="1036" y="1606"/>
                  <a:pt x="1036" y="1606"/>
                </a:cubicBezTo>
                <a:cubicBezTo>
                  <a:pt x="1065" y="1591"/>
                  <a:pt x="1065" y="1591"/>
                  <a:pt x="1065" y="1591"/>
                </a:cubicBezTo>
                <a:cubicBezTo>
                  <a:pt x="1064" y="1589"/>
                  <a:pt x="1064" y="1589"/>
                  <a:pt x="1064" y="1589"/>
                </a:cubicBezTo>
                <a:cubicBezTo>
                  <a:pt x="1066" y="1588"/>
                  <a:pt x="1066" y="1588"/>
                  <a:pt x="1066" y="1588"/>
                </a:cubicBezTo>
                <a:cubicBezTo>
                  <a:pt x="1066" y="1584"/>
                  <a:pt x="1068" y="1579"/>
                  <a:pt x="1069" y="1573"/>
                </a:cubicBezTo>
                <a:cubicBezTo>
                  <a:pt x="1069" y="1573"/>
                  <a:pt x="1069" y="1573"/>
                  <a:pt x="1069" y="1573"/>
                </a:cubicBezTo>
                <a:cubicBezTo>
                  <a:pt x="1068" y="1573"/>
                  <a:pt x="1068" y="1573"/>
                  <a:pt x="1068" y="1573"/>
                </a:cubicBezTo>
                <a:cubicBezTo>
                  <a:pt x="1069" y="1571"/>
                  <a:pt x="1069" y="1571"/>
                  <a:pt x="1069" y="1571"/>
                </a:cubicBezTo>
                <a:cubicBezTo>
                  <a:pt x="1069" y="1571"/>
                  <a:pt x="1069" y="1571"/>
                  <a:pt x="1069" y="1571"/>
                </a:cubicBezTo>
                <a:cubicBezTo>
                  <a:pt x="1068" y="1571"/>
                  <a:pt x="1068" y="1571"/>
                  <a:pt x="1068" y="1570"/>
                </a:cubicBezTo>
                <a:cubicBezTo>
                  <a:pt x="1068" y="1570"/>
                  <a:pt x="1068" y="1570"/>
                  <a:pt x="1068" y="1570"/>
                </a:cubicBezTo>
                <a:cubicBezTo>
                  <a:pt x="1066" y="1571"/>
                  <a:pt x="1066" y="1571"/>
                  <a:pt x="1066" y="1571"/>
                </a:cubicBezTo>
                <a:cubicBezTo>
                  <a:pt x="1064" y="1569"/>
                  <a:pt x="1064" y="1569"/>
                  <a:pt x="1064" y="1569"/>
                </a:cubicBezTo>
                <a:cubicBezTo>
                  <a:pt x="1063" y="1570"/>
                  <a:pt x="1063" y="1570"/>
                  <a:pt x="1063" y="1570"/>
                </a:cubicBezTo>
                <a:cubicBezTo>
                  <a:pt x="1063" y="1570"/>
                  <a:pt x="1062" y="1569"/>
                  <a:pt x="1062" y="1569"/>
                </a:cubicBezTo>
                <a:cubicBezTo>
                  <a:pt x="1061" y="1569"/>
                  <a:pt x="1061" y="1568"/>
                  <a:pt x="1061" y="1568"/>
                </a:cubicBezTo>
                <a:cubicBezTo>
                  <a:pt x="1060" y="1570"/>
                  <a:pt x="1060" y="1570"/>
                  <a:pt x="1060" y="1568"/>
                </a:cubicBezTo>
                <a:cubicBezTo>
                  <a:pt x="1061" y="1568"/>
                  <a:pt x="1061" y="1568"/>
                  <a:pt x="1061" y="1568"/>
                </a:cubicBezTo>
                <a:cubicBezTo>
                  <a:pt x="1060" y="1565"/>
                  <a:pt x="1060" y="1565"/>
                  <a:pt x="1060" y="1565"/>
                </a:cubicBezTo>
                <a:cubicBezTo>
                  <a:pt x="1062" y="1560"/>
                  <a:pt x="1062" y="1560"/>
                  <a:pt x="1062" y="1560"/>
                </a:cubicBezTo>
                <a:cubicBezTo>
                  <a:pt x="1064" y="1555"/>
                  <a:pt x="1064" y="1555"/>
                  <a:pt x="1064" y="1555"/>
                </a:cubicBezTo>
                <a:cubicBezTo>
                  <a:pt x="1076" y="1543"/>
                  <a:pt x="1090" y="1533"/>
                  <a:pt x="1106" y="1527"/>
                </a:cubicBezTo>
                <a:cubicBezTo>
                  <a:pt x="1106" y="1527"/>
                  <a:pt x="1106" y="1527"/>
                  <a:pt x="1106" y="1527"/>
                </a:cubicBezTo>
                <a:cubicBezTo>
                  <a:pt x="1106" y="1527"/>
                  <a:pt x="1106" y="1526"/>
                  <a:pt x="1107" y="1526"/>
                </a:cubicBezTo>
                <a:cubicBezTo>
                  <a:pt x="1108" y="1526"/>
                  <a:pt x="1108" y="1526"/>
                  <a:pt x="1108" y="1526"/>
                </a:cubicBezTo>
                <a:cubicBezTo>
                  <a:pt x="1116" y="1522"/>
                  <a:pt x="1116" y="1522"/>
                  <a:pt x="1116" y="1522"/>
                </a:cubicBezTo>
                <a:cubicBezTo>
                  <a:pt x="1117" y="1520"/>
                  <a:pt x="1117" y="1520"/>
                  <a:pt x="1117" y="1520"/>
                </a:cubicBezTo>
                <a:cubicBezTo>
                  <a:pt x="1128" y="1516"/>
                  <a:pt x="1128" y="1516"/>
                  <a:pt x="1128" y="1516"/>
                </a:cubicBezTo>
                <a:cubicBezTo>
                  <a:pt x="1133" y="1513"/>
                  <a:pt x="1133" y="1513"/>
                  <a:pt x="1133" y="1513"/>
                </a:cubicBezTo>
                <a:cubicBezTo>
                  <a:pt x="1134" y="1512"/>
                  <a:pt x="1134" y="1512"/>
                  <a:pt x="1134" y="1512"/>
                </a:cubicBezTo>
                <a:cubicBezTo>
                  <a:pt x="1135" y="1509"/>
                  <a:pt x="1135" y="1509"/>
                  <a:pt x="1135" y="1509"/>
                </a:cubicBezTo>
                <a:cubicBezTo>
                  <a:pt x="1143" y="1503"/>
                  <a:pt x="1143" y="1503"/>
                  <a:pt x="1143" y="1503"/>
                </a:cubicBezTo>
                <a:cubicBezTo>
                  <a:pt x="1144" y="1501"/>
                  <a:pt x="1144" y="1501"/>
                  <a:pt x="1144" y="1501"/>
                </a:cubicBezTo>
                <a:cubicBezTo>
                  <a:pt x="1147" y="1497"/>
                  <a:pt x="1147" y="1497"/>
                  <a:pt x="1147" y="1497"/>
                </a:cubicBezTo>
                <a:cubicBezTo>
                  <a:pt x="1147" y="1494"/>
                  <a:pt x="1147" y="1494"/>
                  <a:pt x="1147" y="1494"/>
                </a:cubicBezTo>
                <a:cubicBezTo>
                  <a:pt x="1151" y="1491"/>
                  <a:pt x="1151" y="1491"/>
                  <a:pt x="1151" y="1491"/>
                </a:cubicBezTo>
                <a:cubicBezTo>
                  <a:pt x="1150" y="1489"/>
                  <a:pt x="1150" y="1489"/>
                  <a:pt x="1150" y="1489"/>
                </a:cubicBezTo>
                <a:cubicBezTo>
                  <a:pt x="1150" y="1488"/>
                  <a:pt x="1150" y="1488"/>
                  <a:pt x="1151" y="1487"/>
                </a:cubicBezTo>
                <a:cubicBezTo>
                  <a:pt x="1151" y="1487"/>
                  <a:pt x="1151" y="1487"/>
                  <a:pt x="1151" y="1487"/>
                </a:cubicBezTo>
                <a:cubicBezTo>
                  <a:pt x="1151" y="1487"/>
                  <a:pt x="1151" y="1488"/>
                  <a:pt x="1151" y="1488"/>
                </a:cubicBezTo>
                <a:cubicBezTo>
                  <a:pt x="1151" y="1489"/>
                  <a:pt x="1151" y="1489"/>
                  <a:pt x="1151" y="1489"/>
                </a:cubicBezTo>
                <a:cubicBezTo>
                  <a:pt x="1159" y="1483"/>
                  <a:pt x="1159" y="1483"/>
                  <a:pt x="1159" y="1483"/>
                </a:cubicBezTo>
                <a:cubicBezTo>
                  <a:pt x="1159" y="1481"/>
                  <a:pt x="1159" y="1481"/>
                  <a:pt x="1159" y="1481"/>
                </a:cubicBezTo>
                <a:cubicBezTo>
                  <a:pt x="1182" y="1468"/>
                  <a:pt x="1182" y="1468"/>
                  <a:pt x="1182" y="1468"/>
                </a:cubicBezTo>
                <a:cubicBezTo>
                  <a:pt x="1184" y="1466"/>
                  <a:pt x="1184" y="1466"/>
                  <a:pt x="1184" y="1466"/>
                </a:cubicBezTo>
                <a:cubicBezTo>
                  <a:pt x="1202" y="1457"/>
                  <a:pt x="1202" y="1457"/>
                  <a:pt x="1202" y="1457"/>
                </a:cubicBezTo>
                <a:cubicBezTo>
                  <a:pt x="1202" y="1455"/>
                  <a:pt x="1202" y="1455"/>
                  <a:pt x="1202" y="1455"/>
                </a:cubicBezTo>
                <a:cubicBezTo>
                  <a:pt x="1220" y="1439"/>
                  <a:pt x="1220" y="1439"/>
                  <a:pt x="1220" y="1439"/>
                </a:cubicBezTo>
                <a:cubicBezTo>
                  <a:pt x="1220" y="1436"/>
                  <a:pt x="1220" y="1436"/>
                  <a:pt x="1220" y="1436"/>
                </a:cubicBezTo>
                <a:cubicBezTo>
                  <a:pt x="1226" y="1430"/>
                  <a:pt x="1226" y="1430"/>
                  <a:pt x="1226" y="1430"/>
                </a:cubicBezTo>
                <a:cubicBezTo>
                  <a:pt x="1226" y="1429"/>
                  <a:pt x="1226" y="1429"/>
                  <a:pt x="1226" y="1429"/>
                </a:cubicBezTo>
                <a:cubicBezTo>
                  <a:pt x="1226" y="1429"/>
                  <a:pt x="1226" y="1429"/>
                  <a:pt x="1226" y="1429"/>
                </a:cubicBezTo>
                <a:cubicBezTo>
                  <a:pt x="1233" y="1421"/>
                  <a:pt x="1233" y="1421"/>
                  <a:pt x="1233" y="1421"/>
                </a:cubicBezTo>
                <a:cubicBezTo>
                  <a:pt x="1234" y="1419"/>
                  <a:pt x="1234" y="1419"/>
                  <a:pt x="1234" y="1419"/>
                </a:cubicBezTo>
                <a:cubicBezTo>
                  <a:pt x="1236" y="1417"/>
                  <a:pt x="1236" y="1417"/>
                  <a:pt x="1236" y="1417"/>
                </a:cubicBezTo>
                <a:cubicBezTo>
                  <a:pt x="1236" y="1415"/>
                  <a:pt x="1236" y="1415"/>
                  <a:pt x="1236" y="1415"/>
                </a:cubicBezTo>
                <a:cubicBezTo>
                  <a:pt x="1252" y="1395"/>
                  <a:pt x="1252" y="1395"/>
                  <a:pt x="1252" y="1395"/>
                </a:cubicBezTo>
                <a:cubicBezTo>
                  <a:pt x="1252" y="1393"/>
                  <a:pt x="1252" y="1393"/>
                  <a:pt x="1252" y="1393"/>
                </a:cubicBezTo>
                <a:cubicBezTo>
                  <a:pt x="1299" y="1355"/>
                  <a:pt x="1299" y="1355"/>
                  <a:pt x="1299" y="1355"/>
                </a:cubicBezTo>
                <a:cubicBezTo>
                  <a:pt x="1314" y="1347"/>
                  <a:pt x="1330" y="1342"/>
                  <a:pt x="1347" y="1338"/>
                </a:cubicBezTo>
                <a:cubicBezTo>
                  <a:pt x="1349" y="1338"/>
                  <a:pt x="1349" y="1338"/>
                  <a:pt x="1349" y="1338"/>
                </a:cubicBezTo>
                <a:cubicBezTo>
                  <a:pt x="1373" y="1329"/>
                  <a:pt x="1373" y="1329"/>
                  <a:pt x="1373" y="1329"/>
                </a:cubicBezTo>
                <a:cubicBezTo>
                  <a:pt x="1375" y="1327"/>
                  <a:pt x="1375" y="1327"/>
                  <a:pt x="1374" y="1327"/>
                </a:cubicBezTo>
                <a:cubicBezTo>
                  <a:pt x="1374" y="1323"/>
                  <a:pt x="1374" y="1323"/>
                  <a:pt x="1374" y="1323"/>
                </a:cubicBezTo>
                <a:cubicBezTo>
                  <a:pt x="1374" y="1325"/>
                  <a:pt x="1374" y="1325"/>
                  <a:pt x="1374" y="1325"/>
                </a:cubicBezTo>
                <a:cubicBezTo>
                  <a:pt x="1376" y="1322"/>
                  <a:pt x="1376" y="1322"/>
                  <a:pt x="1376" y="1322"/>
                </a:cubicBezTo>
                <a:cubicBezTo>
                  <a:pt x="1381" y="1314"/>
                  <a:pt x="1388" y="1308"/>
                  <a:pt x="1397" y="1304"/>
                </a:cubicBezTo>
                <a:cubicBezTo>
                  <a:pt x="1396" y="1304"/>
                  <a:pt x="1396" y="1304"/>
                  <a:pt x="1396" y="1304"/>
                </a:cubicBezTo>
                <a:cubicBezTo>
                  <a:pt x="1395" y="1305"/>
                  <a:pt x="1395" y="1305"/>
                  <a:pt x="1395" y="1305"/>
                </a:cubicBezTo>
                <a:cubicBezTo>
                  <a:pt x="1394" y="1305"/>
                  <a:pt x="1394" y="1305"/>
                  <a:pt x="1394" y="1305"/>
                </a:cubicBezTo>
                <a:cubicBezTo>
                  <a:pt x="1394" y="1305"/>
                  <a:pt x="1394" y="1305"/>
                  <a:pt x="1394" y="1305"/>
                </a:cubicBezTo>
                <a:cubicBezTo>
                  <a:pt x="1394" y="1304"/>
                  <a:pt x="1394" y="1304"/>
                  <a:pt x="1394" y="1304"/>
                </a:cubicBezTo>
                <a:cubicBezTo>
                  <a:pt x="1394" y="1302"/>
                  <a:pt x="1394" y="1302"/>
                  <a:pt x="1394" y="1302"/>
                </a:cubicBezTo>
                <a:cubicBezTo>
                  <a:pt x="1395" y="1303"/>
                  <a:pt x="1396" y="1304"/>
                  <a:pt x="1398" y="1302"/>
                </a:cubicBezTo>
                <a:cubicBezTo>
                  <a:pt x="1399" y="1302"/>
                  <a:pt x="1400" y="1301"/>
                  <a:pt x="1400" y="1301"/>
                </a:cubicBezTo>
                <a:cubicBezTo>
                  <a:pt x="1402" y="1297"/>
                  <a:pt x="1402" y="1297"/>
                  <a:pt x="1402" y="1297"/>
                </a:cubicBezTo>
                <a:cubicBezTo>
                  <a:pt x="1400" y="1296"/>
                  <a:pt x="1399" y="1296"/>
                  <a:pt x="1398" y="1299"/>
                </a:cubicBezTo>
                <a:cubicBezTo>
                  <a:pt x="1398" y="1298"/>
                  <a:pt x="1398" y="1298"/>
                  <a:pt x="1398" y="1298"/>
                </a:cubicBezTo>
                <a:cubicBezTo>
                  <a:pt x="1398" y="1298"/>
                  <a:pt x="1398" y="1298"/>
                  <a:pt x="1398" y="1298"/>
                </a:cubicBezTo>
                <a:cubicBezTo>
                  <a:pt x="1398" y="1298"/>
                  <a:pt x="1398" y="1298"/>
                  <a:pt x="1398" y="1298"/>
                </a:cubicBezTo>
                <a:cubicBezTo>
                  <a:pt x="1398" y="1297"/>
                  <a:pt x="1398" y="1297"/>
                  <a:pt x="1398" y="1297"/>
                </a:cubicBezTo>
                <a:cubicBezTo>
                  <a:pt x="1398" y="1297"/>
                  <a:pt x="1397" y="1297"/>
                  <a:pt x="1397" y="1297"/>
                </a:cubicBezTo>
                <a:cubicBezTo>
                  <a:pt x="1397" y="1297"/>
                  <a:pt x="1397" y="1297"/>
                  <a:pt x="1397" y="1297"/>
                </a:cubicBezTo>
                <a:cubicBezTo>
                  <a:pt x="1397" y="1297"/>
                  <a:pt x="1397" y="1296"/>
                  <a:pt x="1398" y="1296"/>
                </a:cubicBezTo>
                <a:cubicBezTo>
                  <a:pt x="1398" y="1295"/>
                  <a:pt x="1398" y="1295"/>
                  <a:pt x="1398" y="1295"/>
                </a:cubicBezTo>
                <a:cubicBezTo>
                  <a:pt x="1398" y="1290"/>
                  <a:pt x="1398" y="1290"/>
                  <a:pt x="1398" y="1290"/>
                </a:cubicBezTo>
                <a:cubicBezTo>
                  <a:pt x="1420" y="1273"/>
                  <a:pt x="1420" y="1273"/>
                  <a:pt x="1420" y="1273"/>
                </a:cubicBezTo>
                <a:cubicBezTo>
                  <a:pt x="1417" y="1273"/>
                  <a:pt x="1417" y="1273"/>
                  <a:pt x="1417" y="1273"/>
                </a:cubicBezTo>
                <a:cubicBezTo>
                  <a:pt x="1419" y="1271"/>
                  <a:pt x="1419" y="1271"/>
                  <a:pt x="1419" y="1271"/>
                </a:cubicBezTo>
                <a:cubicBezTo>
                  <a:pt x="1416" y="1267"/>
                  <a:pt x="1416" y="1267"/>
                  <a:pt x="1416" y="1267"/>
                </a:cubicBezTo>
                <a:cubicBezTo>
                  <a:pt x="1416" y="1264"/>
                  <a:pt x="1416" y="1264"/>
                  <a:pt x="1416" y="1264"/>
                </a:cubicBezTo>
                <a:cubicBezTo>
                  <a:pt x="1415" y="1261"/>
                  <a:pt x="1415" y="1261"/>
                  <a:pt x="1415" y="1261"/>
                </a:cubicBezTo>
                <a:cubicBezTo>
                  <a:pt x="1412" y="1257"/>
                  <a:pt x="1412" y="1257"/>
                  <a:pt x="1412" y="1257"/>
                </a:cubicBezTo>
                <a:cubicBezTo>
                  <a:pt x="1404" y="1239"/>
                  <a:pt x="1404" y="1239"/>
                  <a:pt x="1404" y="1239"/>
                </a:cubicBezTo>
                <a:cubicBezTo>
                  <a:pt x="1410" y="1225"/>
                  <a:pt x="1410" y="1225"/>
                  <a:pt x="1410" y="1225"/>
                </a:cubicBezTo>
                <a:cubicBezTo>
                  <a:pt x="1411" y="1224"/>
                  <a:pt x="1411" y="1224"/>
                  <a:pt x="1411" y="1224"/>
                </a:cubicBezTo>
                <a:cubicBezTo>
                  <a:pt x="1424" y="1211"/>
                  <a:pt x="1424" y="1211"/>
                  <a:pt x="1424" y="1211"/>
                </a:cubicBezTo>
                <a:cubicBezTo>
                  <a:pt x="1460" y="1200"/>
                  <a:pt x="1460" y="1200"/>
                  <a:pt x="1460" y="1200"/>
                </a:cubicBezTo>
                <a:cubicBezTo>
                  <a:pt x="1460" y="1199"/>
                  <a:pt x="1460" y="1199"/>
                  <a:pt x="1460" y="1199"/>
                </a:cubicBezTo>
                <a:cubicBezTo>
                  <a:pt x="1461" y="1200"/>
                  <a:pt x="1461" y="1200"/>
                  <a:pt x="1461" y="1200"/>
                </a:cubicBezTo>
                <a:cubicBezTo>
                  <a:pt x="1466" y="1199"/>
                  <a:pt x="1466" y="1199"/>
                  <a:pt x="1466" y="1199"/>
                </a:cubicBezTo>
                <a:cubicBezTo>
                  <a:pt x="1467" y="1198"/>
                  <a:pt x="1467" y="1198"/>
                  <a:pt x="1467" y="1198"/>
                </a:cubicBezTo>
                <a:cubicBezTo>
                  <a:pt x="1475" y="1195"/>
                  <a:pt x="1475" y="1195"/>
                  <a:pt x="1475" y="1195"/>
                </a:cubicBezTo>
                <a:cubicBezTo>
                  <a:pt x="1475" y="1195"/>
                  <a:pt x="1475" y="1195"/>
                  <a:pt x="1476" y="1195"/>
                </a:cubicBezTo>
                <a:cubicBezTo>
                  <a:pt x="1476" y="1195"/>
                  <a:pt x="1476" y="1195"/>
                  <a:pt x="1476" y="1195"/>
                </a:cubicBezTo>
                <a:cubicBezTo>
                  <a:pt x="1476" y="1195"/>
                  <a:pt x="1477" y="1195"/>
                  <a:pt x="1477" y="1195"/>
                </a:cubicBezTo>
                <a:cubicBezTo>
                  <a:pt x="1485" y="1189"/>
                  <a:pt x="1485" y="1189"/>
                  <a:pt x="1485" y="1189"/>
                </a:cubicBezTo>
                <a:cubicBezTo>
                  <a:pt x="1484" y="1187"/>
                  <a:pt x="1484" y="1187"/>
                  <a:pt x="1484" y="1187"/>
                </a:cubicBezTo>
                <a:cubicBezTo>
                  <a:pt x="1491" y="1185"/>
                  <a:pt x="1496" y="1179"/>
                  <a:pt x="1497" y="1171"/>
                </a:cubicBezTo>
                <a:cubicBezTo>
                  <a:pt x="1508" y="1163"/>
                  <a:pt x="1508" y="1163"/>
                  <a:pt x="1508" y="1163"/>
                </a:cubicBezTo>
                <a:cubicBezTo>
                  <a:pt x="1504" y="1157"/>
                  <a:pt x="1504" y="1157"/>
                  <a:pt x="1504" y="1157"/>
                </a:cubicBezTo>
                <a:cubicBezTo>
                  <a:pt x="1498" y="1157"/>
                  <a:pt x="1498" y="1157"/>
                  <a:pt x="1498" y="1157"/>
                </a:cubicBezTo>
                <a:cubicBezTo>
                  <a:pt x="1497" y="1155"/>
                  <a:pt x="1497" y="1155"/>
                  <a:pt x="1497" y="1155"/>
                </a:cubicBezTo>
                <a:cubicBezTo>
                  <a:pt x="1497" y="1155"/>
                  <a:pt x="1497" y="1155"/>
                  <a:pt x="1498" y="1154"/>
                </a:cubicBezTo>
                <a:cubicBezTo>
                  <a:pt x="1498" y="1154"/>
                  <a:pt x="1498" y="1155"/>
                  <a:pt x="1499" y="1155"/>
                </a:cubicBezTo>
                <a:cubicBezTo>
                  <a:pt x="1498" y="1155"/>
                  <a:pt x="1498" y="1155"/>
                  <a:pt x="1498" y="1155"/>
                </a:cubicBezTo>
                <a:cubicBezTo>
                  <a:pt x="1507" y="1157"/>
                  <a:pt x="1507" y="1157"/>
                  <a:pt x="1507" y="1157"/>
                </a:cubicBezTo>
                <a:cubicBezTo>
                  <a:pt x="1509" y="1161"/>
                  <a:pt x="1509" y="1161"/>
                  <a:pt x="1509" y="1161"/>
                </a:cubicBezTo>
                <a:cubicBezTo>
                  <a:pt x="1511" y="1167"/>
                  <a:pt x="1510" y="1171"/>
                  <a:pt x="1504" y="1175"/>
                </a:cubicBezTo>
                <a:cubicBezTo>
                  <a:pt x="1506" y="1180"/>
                  <a:pt x="1506" y="1180"/>
                  <a:pt x="1506" y="1180"/>
                </a:cubicBezTo>
                <a:cubicBezTo>
                  <a:pt x="1507" y="1182"/>
                  <a:pt x="1507" y="1182"/>
                  <a:pt x="1507" y="1182"/>
                </a:cubicBezTo>
                <a:cubicBezTo>
                  <a:pt x="1508" y="1183"/>
                  <a:pt x="1508" y="1183"/>
                  <a:pt x="1508" y="1183"/>
                </a:cubicBezTo>
                <a:cubicBezTo>
                  <a:pt x="1508" y="1186"/>
                  <a:pt x="1508" y="1186"/>
                  <a:pt x="1508" y="1186"/>
                </a:cubicBezTo>
                <a:cubicBezTo>
                  <a:pt x="1510" y="1189"/>
                  <a:pt x="1510" y="1189"/>
                  <a:pt x="1510" y="1189"/>
                </a:cubicBezTo>
                <a:cubicBezTo>
                  <a:pt x="1511" y="1189"/>
                  <a:pt x="1511" y="1189"/>
                  <a:pt x="1511" y="1189"/>
                </a:cubicBezTo>
                <a:cubicBezTo>
                  <a:pt x="1510" y="1190"/>
                  <a:pt x="1510" y="1190"/>
                  <a:pt x="1510" y="1189"/>
                </a:cubicBezTo>
                <a:cubicBezTo>
                  <a:pt x="1509" y="1187"/>
                  <a:pt x="1509" y="1188"/>
                  <a:pt x="1510" y="1190"/>
                </a:cubicBezTo>
                <a:cubicBezTo>
                  <a:pt x="1510" y="1190"/>
                  <a:pt x="1509" y="1190"/>
                  <a:pt x="1509" y="1191"/>
                </a:cubicBezTo>
                <a:cubicBezTo>
                  <a:pt x="1509" y="1192"/>
                  <a:pt x="1509" y="1192"/>
                  <a:pt x="1509" y="1192"/>
                </a:cubicBezTo>
                <a:cubicBezTo>
                  <a:pt x="1509" y="1193"/>
                  <a:pt x="1509" y="1193"/>
                  <a:pt x="1509" y="1193"/>
                </a:cubicBezTo>
                <a:cubicBezTo>
                  <a:pt x="1510" y="1194"/>
                  <a:pt x="1511" y="1195"/>
                  <a:pt x="1510" y="1196"/>
                </a:cubicBezTo>
                <a:cubicBezTo>
                  <a:pt x="1511" y="1196"/>
                  <a:pt x="1511" y="1196"/>
                  <a:pt x="1511" y="1196"/>
                </a:cubicBezTo>
                <a:cubicBezTo>
                  <a:pt x="1511" y="1199"/>
                  <a:pt x="1511" y="1199"/>
                  <a:pt x="1511" y="1199"/>
                </a:cubicBezTo>
                <a:cubicBezTo>
                  <a:pt x="1510" y="1201"/>
                  <a:pt x="1510" y="1201"/>
                  <a:pt x="1510" y="1201"/>
                </a:cubicBezTo>
                <a:cubicBezTo>
                  <a:pt x="1510" y="1201"/>
                  <a:pt x="1510" y="1201"/>
                  <a:pt x="1510" y="1201"/>
                </a:cubicBezTo>
                <a:cubicBezTo>
                  <a:pt x="1511" y="1202"/>
                  <a:pt x="1511" y="1202"/>
                  <a:pt x="1511" y="1202"/>
                </a:cubicBezTo>
                <a:cubicBezTo>
                  <a:pt x="1512" y="1204"/>
                  <a:pt x="1512" y="1204"/>
                  <a:pt x="1512" y="1204"/>
                </a:cubicBezTo>
                <a:cubicBezTo>
                  <a:pt x="1514" y="1207"/>
                  <a:pt x="1516" y="1207"/>
                  <a:pt x="1517" y="1203"/>
                </a:cubicBezTo>
                <a:cubicBezTo>
                  <a:pt x="1515" y="1202"/>
                  <a:pt x="1515" y="1202"/>
                  <a:pt x="1515" y="1202"/>
                </a:cubicBezTo>
                <a:cubicBezTo>
                  <a:pt x="1516" y="1197"/>
                  <a:pt x="1516" y="1197"/>
                  <a:pt x="1516" y="1197"/>
                </a:cubicBezTo>
                <a:cubicBezTo>
                  <a:pt x="1515" y="1191"/>
                  <a:pt x="1515" y="1191"/>
                  <a:pt x="1515" y="1191"/>
                </a:cubicBezTo>
                <a:cubicBezTo>
                  <a:pt x="1513" y="1187"/>
                  <a:pt x="1513" y="1187"/>
                  <a:pt x="1513" y="1187"/>
                </a:cubicBezTo>
                <a:cubicBezTo>
                  <a:pt x="1517" y="1184"/>
                  <a:pt x="1517" y="1184"/>
                  <a:pt x="1517" y="1184"/>
                </a:cubicBezTo>
                <a:cubicBezTo>
                  <a:pt x="1517" y="1183"/>
                  <a:pt x="1517" y="1183"/>
                  <a:pt x="1517" y="1183"/>
                </a:cubicBezTo>
                <a:cubicBezTo>
                  <a:pt x="1514" y="1182"/>
                  <a:pt x="1514" y="1182"/>
                  <a:pt x="1514" y="1182"/>
                </a:cubicBezTo>
                <a:cubicBezTo>
                  <a:pt x="1514" y="1182"/>
                  <a:pt x="1515" y="1182"/>
                  <a:pt x="1516" y="1182"/>
                </a:cubicBezTo>
                <a:cubicBezTo>
                  <a:pt x="1516" y="1183"/>
                  <a:pt x="1517" y="1183"/>
                  <a:pt x="1517" y="1183"/>
                </a:cubicBezTo>
                <a:cubicBezTo>
                  <a:pt x="1517" y="1184"/>
                  <a:pt x="1517" y="1184"/>
                  <a:pt x="1517" y="1184"/>
                </a:cubicBezTo>
                <a:cubicBezTo>
                  <a:pt x="1515" y="1186"/>
                  <a:pt x="1515" y="1186"/>
                  <a:pt x="1515" y="1186"/>
                </a:cubicBezTo>
                <a:cubicBezTo>
                  <a:pt x="1515" y="1187"/>
                  <a:pt x="1515" y="1187"/>
                  <a:pt x="1515" y="1188"/>
                </a:cubicBezTo>
                <a:cubicBezTo>
                  <a:pt x="1515" y="1187"/>
                  <a:pt x="1515" y="1187"/>
                  <a:pt x="1516" y="1187"/>
                </a:cubicBezTo>
                <a:cubicBezTo>
                  <a:pt x="1516" y="1187"/>
                  <a:pt x="1516" y="1187"/>
                  <a:pt x="1516" y="1188"/>
                </a:cubicBezTo>
                <a:cubicBezTo>
                  <a:pt x="1516" y="1187"/>
                  <a:pt x="1516" y="1187"/>
                  <a:pt x="1516" y="1187"/>
                </a:cubicBezTo>
                <a:cubicBezTo>
                  <a:pt x="1516" y="1187"/>
                  <a:pt x="1517" y="1187"/>
                  <a:pt x="1517" y="1188"/>
                </a:cubicBezTo>
                <a:cubicBezTo>
                  <a:pt x="1519" y="1187"/>
                  <a:pt x="1519" y="1187"/>
                  <a:pt x="1519" y="1187"/>
                </a:cubicBezTo>
                <a:cubicBezTo>
                  <a:pt x="1520" y="1187"/>
                  <a:pt x="1520" y="1187"/>
                  <a:pt x="1520" y="1187"/>
                </a:cubicBezTo>
                <a:cubicBezTo>
                  <a:pt x="1521" y="1187"/>
                  <a:pt x="1521" y="1187"/>
                  <a:pt x="1521" y="1187"/>
                </a:cubicBezTo>
                <a:cubicBezTo>
                  <a:pt x="1520" y="1183"/>
                  <a:pt x="1520" y="1183"/>
                  <a:pt x="1520" y="1183"/>
                </a:cubicBezTo>
                <a:cubicBezTo>
                  <a:pt x="1521" y="1187"/>
                  <a:pt x="1521" y="1187"/>
                  <a:pt x="1521" y="1187"/>
                </a:cubicBezTo>
                <a:cubicBezTo>
                  <a:pt x="1522" y="1188"/>
                  <a:pt x="1522" y="1188"/>
                  <a:pt x="1522" y="1188"/>
                </a:cubicBezTo>
                <a:cubicBezTo>
                  <a:pt x="1523" y="1184"/>
                  <a:pt x="1523" y="1184"/>
                  <a:pt x="1523" y="1184"/>
                </a:cubicBezTo>
                <a:cubicBezTo>
                  <a:pt x="1524" y="1183"/>
                  <a:pt x="1524" y="1183"/>
                  <a:pt x="1524" y="1183"/>
                </a:cubicBezTo>
                <a:cubicBezTo>
                  <a:pt x="1524" y="1181"/>
                  <a:pt x="1524" y="1181"/>
                  <a:pt x="1524" y="1181"/>
                </a:cubicBezTo>
                <a:cubicBezTo>
                  <a:pt x="1523" y="1179"/>
                  <a:pt x="1523" y="1179"/>
                  <a:pt x="1523" y="1179"/>
                </a:cubicBezTo>
                <a:cubicBezTo>
                  <a:pt x="1523" y="1178"/>
                  <a:pt x="1523" y="1178"/>
                  <a:pt x="1523" y="1178"/>
                </a:cubicBezTo>
                <a:cubicBezTo>
                  <a:pt x="1524" y="1178"/>
                  <a:pt x="1524" y="1178"/>
                  <a:pt x="1524" y="1178"/>
                </a:cubicBezTo>
                <a:cubicBezTo>
                  <a:pt x="1524" y="1178"/>
                  <a:pt x="1524" y="1178"/>
                  <a:pt x="1524" y="1178"/>
                </a:cubicBezTo>
                <a:cubicBezTo>
                  <a:pt x="1524" y="1178"/>
                  <a:pt x="1524" y="1178"/>
                  <a:pt x="1524" y="1178"/>
                </a:cubicBezTo>
                <a:cubicBezTo>
                  <a:pt x="1523" y="1176"/>
                  <a:pt x="1523" y="1176"/>
                  <a:pt x="1523" y="1176"/>
                </a:cubicBezTo>
                <a:cubicBezTo>
                  <a:pt x="1524" y="1175"/>
                  <a:pt x="1524" y="1175"/>
                  <a:pt x="1524" y="1175"/>
                </a:cubicBezTo>
                <a:cubicBezTo>
                  <a:pt x="1523" y="1175"/>
                  <a:pt x="1523" y="1175"/>
                  <a:pt x="1523" y="1175"/>
                </a:cubicBezTo>
                <a:cubicBezTo>
                  <a:pt x="1522" y="1175"/>
                  <a:pt x="1522" y="1175"/>
                  <a:pt x="1522" y="1175"/>
                </a:cubicBezTo>
                <a:cubicBezTo>
                  <a:pt x="1522" y="1174"/>
                  <a:pt x="1522" y="1174"/>
                  <a:pt x="1522" y="1174"/>
                </a:cubicBezTo>
                <a:cubicBezTo>
                  <a:pt x="1522" y="1173"/>
                  <a:pt x="1522" y="1173"/>
                  <a:pt x="1522" y="1173"/>
                </a:cubicBezTo>
                <a:cubicBezTo>
                  <a:pt x="1524" y="1173"/>
                  <a:pt x="1524" y="1173"/>
                  <a:pt x="1524" y="1173"/>
                </a:cubicBezTo>
                <a:cubicBezTo>
                  <a:pt x="1524" y="1173"/>
                  <a:pt x="1524" y="1173"/>
                  <a:pt x="1524" y="1173"/>
                </a:cubicBezTo>
                <a:cubicBezTo>
                  <a:pt x="1524" y="1172"/>
                  <a:pt x="1524" y="1172"/>
                  <a:pt x="1524" y="1173"/>
                </a:cubicBezTo>
                <a:cubicBezTo>
                  <a:pt x="1524" y="1174"/>
                  <a:pt x="1524" y="1174"/>
                  <a:pt x="1524" y="1174"/>
                </a:cubicBezTo>
                <a:cubicBezTo>
                  <a:pt x="1522" y="1174"/>
                  <a:pt x="1522" y="1174"/>
                  <a:pt x="1522" y="1174"/>
                </a:cubicBezTo>
                <a:cubicBezTo>
                  <a:pt x="1523" y="1175"/>
                  <a:pt x="1523" y="1175"/>
                  <a:pt x="1523" y="1175"/>
                </a:cubicBezTo>
                <a:cubicBezTo>
                  <a:pt x="1524" y="1175"/>
                  <a:pt x="1524" y="1175"/>
                  <a:pt x="1524" y="1175"/>
                </a:cubicBezTo>
                <a:cubicBezTo>
                  <a:pt x="1524" y="1175"/>
                  <a:pt x="1524" y="1175"/>
                  <a:pt x="1524" y="1175"/>
                </a:cubicBezTo>
                <a:cubicBezTo>
                  <a:pt x="1524" y="1178"/>
                  <a:pt x="1524" y="1178"/>
                  <a:pt x="1524" y="1178"/>
                </a:cubicBezTo>
                <a:cubicBezTo>
                  <a:pt x="1524" y="1178"/>
                  <a:pt x="1524" y="1178"/>
                  <a:pt x="1524" y="1178"/>
                </a:cubicBezTo>
                <a:cubicBezTo>
                  <a:pt x="1523" y="1179"/>
                  <a:pt x="1523" y="1179"/>
                  <a:pt x="1523" y="1179"/>
                </a:cubicBezTo>
                <a:cubicBezTo>
                  <a:pt x="1523" y="1179"/>
                  <a:pt x="1523" y="1179"/>
                  <a:pt x="1524" y="1180"/>
                </a:cubicBezTo>
                <a:cubicBezTo>
                  <a:pt x="1525" y="1180"/>
                  <a:pt x="1525" y="1181"/>
                  <a:pt x="1524" y="1183"/>
                </a:cubicBezTo>
                <a:cubicBezTo>
                  <a:pt x="1524" y="1184"/>
                  <a:pt x="1524" y="1184"/>
                  <a:pt x="1524" y="1184"/>
                </a:cubicBezTo>
                <a:cubicBezTo>
                  <a:pt x="1523" y="1184"/>
                  <a:pt x="1523" y="1184"/>
                  <a:pt x="1523" y="1184"/>
                </a:cubicBezTo>
                <a:cubicBezTo>
                  <a:pt x="1524" y="1186"/>
                  <a:pt x="1524" y="1186"/>
                  <a:pt x="1524" y="1186"/>
                </a:cubicBezTo>
                <a:cubicBezTo>
                  <a:pt x="1523" y="1193"/>
                  <a:pt x="1523" y="1193"/>
                  <a:pt x="1523" y="1193"/>
                </a:cubicBezTo>
                <a:cubicBezTo>
                  <a:pt x="1523" y="1193"/>
                  <a:pt x="1523" y="1193"/>
                  <a:pt x="1523" y="1193"/>
                </a:cubicBezTo>
                <a:cubicBezTo>
                  <a:pt x="1524" y="1194"/>
                  <a:pt x="1524" y="1194"/>
                  <a:pt x="1524" y="1194"/>
                </a:cubicBezTo>
                <a:cubicBezTo>
                  <a:pt x="1522" y="1195"/>
                  <a:pt x="1522" y="1195"/>
                  <a:pt x="1522" y="1195"/>
                </a:cubicBezTo>
                <a:cubicBezTo>
                  <a:pt x="1522" y="1197"/>
                  <a:pt x="1522" y="1197"/>
                  <a:pt x="1522" y="1197"/>
                </a:cubicBezTo>
                <a:cubicBezTo>
                  <a:pt x="1524" y="1203"/>
                  <a:pt x="1524" y="1203"/>
                  <a:pt x="1524" y="1203"/>
                </a:cubicBezTo>
                <a:cubicBezTo>
                  <a:pt x="1525" y="1202"/>
                  <a:pt x="1525" y="1202"/>
                  <a:pt x="1525" y="1202"/>
                </a:cubicBezTo>
                <a:cubicBezTo>
                  <a:pt x="1525" y="1201"/>
                  <a:pt x="1525" y="1201"/>
                  <a:pt x="1525" y="1201"/>
                </a:cubicBezTo>
                <a:cubicBezTo>
                  <a:pt x="1526" y="1201"/>
                  <a:pt x="1526" y="1201"/>
                  <a:pt x="1526" y="1201"/>
                </a:cubicBezTo>
                <a:cubicBezTo>
                  <a:pt x="1526" y="1201"/>
                  <a:pt x="1526" y="1201"/>
                  <a:pt x="1526" y="1201"/>
                </a:cubicBezTo>
                <a:cubicBezTo>
                  <a:pt x="1526" y="1199"/>
                  <a:pt x="1526" y="1199"/>
                  <a:pt x="1526" y="1199"/>
                </a:cubicBezTo>
                <a:cubicBezTo>
                  <a:pt x="1525" y="1199"/>
                  <a:pt x="1525" y="1198"/>
                  <a:pt x="1524" y="1197"/>
                </a:cubicBezTo>
                <a:cubicBezTo>
                  <a:pt x="1524" y="1197"/>
                  <a:pt x="1524" y="1197"/>
                  <a:pt x="1525" y="1197"/>
                </a:cubicBezTo>
                <a:cubicBezTo>
                  <a:pt x="1526" y="1193"/>
                  <a:pt x="1526" y="1193"/>
                  <a:pt x="1526" y="1193"/>
                </a:cubicBezTo>
                <a:cubicBezTo>
                  <a:pt x="1526" y="1193"/>
                  <a:pt x="1526" y="1193"/>
                  <a:pt x="1526" y="1193"/>
                </a:cubicBezTo>
                <a:cubicBezTo>
                  <a:pt x="1525" y="1190"/>
                  <a:pt x="1525" y="1190"/>
                  <a:pt x="1525" y="1190"/>
                </a:cubicBezTo>
                <a:cubicBezTo>
                  <a:pt x="1526" y="1188"/>
                  <a:pt x="1526" y="1188"/>
                  <a:pt x="1526" y="1188"/>
                </a:cubicBezTo>
                <a:cubicBezTo>
                  <a:pt x="1526" y="1187"/>
                  <a:pt x="1526" y="1187"/>
                  <a:pt x="1527" y="1187"/>
                </a:cubicBezTo>
                <a:cubicBezTo>
                  <a:pt x="1527" y="1187"/>
                  <a:pt x="1528" y="1187"/>
                  <a:pt x="1528" y="1188"/>
                </a:cubicBezTo>
                <a:cubicBezTo>
                  <a:pt x="1528" y="1188"/>
                  <a:pt x="1528" y="1188"/>
                  <a:pt x="1528" y="1188"/>
                </a:cubicBezTo>
                <a:cubicBezTo>
                  <a:pt x="1528" y="1187"/>
                  <a:pt x="1528" y="1187"/>
                  <a:pt x="1528" y="1187"/>
                </a:cubicBezTo>
                <a:cubicBezTo>
                  <a:pt x="1527" y="1186"/>
                  <a:pt x="1527" y="1186"/>
                  <a:pt x="1527" y="1186"/>
                </a:cubicBezTo>
                <a:cubicBezTo>
                  <a:pt x="1528" y="1186"/>
                  <a:pt x="1528" y="1186"/>
                  <a:pt x="1528" y="1186"/>
                </a:cubicBezTo>
                <a:cubicBezTo>
                  <a:pt x="1528" y="1185"/>
                  <a:pt x="1528" y="1185"/>
                  <a:pt x="1528" y="1185"/>
                </a:cubicBezTo>
                <a:cubicBezTo>
                  <a:pt x="1528" y="1185"/>
                  <a:pt x="1528" y="1185"/>
                  <a:pt x="1528" y="1185"/>
                </a:cubicBezTo>
                <a:cubicBezTo>
                  <a:pt x="1530" y="1184"/>
                  <a:pt x="1530" y="1184"/>
                  <a:pt x="1530" y="1184"/>
                </a:cubicBezTo>
                <a:cubicBezTo>
                  <a:pt x="1531" y="1184"/>
                  <a:pt x="1531" y="1184"/>
                  <a:pt x="1531" y="1184"/>
                </a:cubicBezTo>
                <a:cubicBezTo>
                  <a:pt x="1529" y="1180"/>
                  <a:pt x="1529" y="1180"/>
                  <a:pt x="1529" y="1180"/>
                </a:cubicBezTo>
                <a:cubicBezTo>
                  <a:pt x="1528" y="1180"/>
                  <a:pt x="1528" y="1180"/>
                  <a:pt x="1528" y="1180"/>
                </a:cubicBezTo>
                <a:cubicBezTo>
                  <a:pt x="1528" y="1180"/>
                  <a:pt x="1528" y="1180"/>
                  <a:pt x="1528" y="1180"/>
                </a:cubicBezTo>
                <a:cubicBezTo>
                  <a:pt x="1528" y="1179"/>
                  <a:pt x="1528" y="1179"/>
                  <a:pt x="1528" y="1179"/>
                </a:cubicBezTo>
                <a:cubicBezTo>
                  <a:pt x="1528" y="1177"/>
                  <a:pt x="1528" y="1177"/>
                  <a:pt x="1528" y="1177"/>
                </a:cubicBezTo>
                <a:cubicBezTo>
                  <a:pt x="1528" y="1176"/>
                  <a:pt x="1528" y="1176"/>
                  <a:pt x="1528" y="1176"/>
                </a:cubicBezTo>
                <a:cubicBezTo>
                  <a:pt x="1528" y="1177"/>
                  <a:pt x="1528" y="1177"/>
                  <a:pt x="1528" y="1177"/>
                </a:cubicBezTo>
                <a:cubicBezTo>
                  <a:pt x="1528" y="1178"/>
                  <a:pt x="1528" y="1178"/>
                  <a:pt x="1528" y="1178"/>
                </a:cubicBezTo>
                <a:cubicBezTo>
                  <a:pt x="1528" y="1179"/>
                  <a:pt x="1528" y="1179"/>
                  <a:pt x="1528" y="1179"/>
                </a:cubicBezTo>
                <a:cubicBezTo>
                  <a:pt x="1528" y="1180"/>
                  <a:pt x="1528" y="1180"/>
                  <a:pt x="1528" y="1180"/>
                </a:cubicBezTo>
                <a:cubicBezTo>
                  <a:pt x="1529" y="1180"/>
                  <a:pt x="1529" y="1180"/>
                  <a:pt x="1529" y="1180"/>
                </a:cubicBezTo>
                <a:cubicBezTo>
                  <a:pt x="1530" y="1179"/>
                  <a:pt x="1530" y="1179"/>
                  <a:pt x="1530" y="1179"/>
                </a:cubicBezTo>
                <a:cubicBezTo>
                  <a:pt x="1530" y="1179"/>
                  <a:pt x="1530" y="1179"/>
                  <a:pt x="1530" y="1179"/>
                </a:cubicBezTo>
                <a:cubicBezTo>
                  <a:pt x="1532" y="1178"/>
                  <a:pt x="1532" y="1178"/>
                  <a:pt x="1532" y="1178"/>
                </a:cubicBezTo>
                <a:cubicBezTo>
                  <a:pt x="1530" y="1176"/>
                  <a:pt x="1530" y="1174"/>
                  <a:pt x="1532" y="1173"/>
                </a:cubicBezTo>
                <a:cubicBezTo>
                  <a:pt x="1532" y="1173"/>
                  <a:pt x="1532" y="1173"/>
                  <a:pt x="1533" y="1173"/>
                </a:cubicBezTo>
                <a:cubicBezTo>
                  <a:pt x="1534" y="1173"/>
                  <a:pt x="1534" y="1173"/>
                  <a:pt x="1534" y="1173"/>
                </a:cubicBezTo>
                <a:cubicBezTo>
                  <a:pt x="1535" y="1172"/>
                  <a:pt x="1535" y="1171"/>
                  <a:pt x="1536" y="1171"/>
                </a:cubicBezTo>
                <a:cubicBezTo>
                  <a:pt x="1535" y="1171"/>
                  <a:pt x="1535" y="1172"/>
                  <a:pt x="1534" y="1173"/>
                </a:cubicBezTo>
                <a:cubicBezTo>
                  <a:pt x="1533" y="1173"/>
                  <a:pt x="1533" y="1173"/>
                  <a:pt x="1533" y="1173"/>
                </a:cubicBezTo>
                <a:cubicBezTo>
                  <a:pt x="1532" y="1174"/>
                  <a:pt x="1532" y="1174"/>
                  <a:pt x="1532" y="1174"/>
                </a:cubicBezTo>
                <a:cubicBezTo>
                  <a:pt x="1533" y="1176"/>
                  <a:pt x="1533" y="1176"/>
                  <a:pt x="1533" y="1176"/>
                </a:cubicBezTo>
                <a:cubicBezTo>
                  <a:pt x="1532" y="1182"/>
                  <a:pt x="1532" y="1182"/>
                  <a:pt x="1532" y="1182"/>
                </a:cubicBezTo>
                <a:cubicBezTo>
                  <a:pt x="1534" y="1185"/>
                  <a:pt x="1534" y="1185"/>
                  <a:pt x="1534" y="1185"/>
                </a:cubicBezTo>
                <a:cubicBezTo>
                  <a:pt x="1535" y="1186"/>
                  <a:pt x="1535" y="1186"/>
                  <a:pt x="1535" y="1186"/>
                </a:cubicBezTo>
                <a:cubicBezTo>
                  <a:pt x="1537" y="1182"/>
                  <a:pt x="1537" y="1182"/>
                  <a:pt x="1537" y="1182"/>
                </a:cubicBezTo>
                <a:cubicBezTo>
                  <a:pt x="1537" y="1181"/>
                  <a:pt x="1537" y="1181"/>
                  <a:pt x="1537" y="1181"/>
                </a:cubicBezTo>
                <a:cubicBezTo>
                  <a:pt x="1538" y="1178"/>
                  <a:pt x="1538" y="1178"/>
                  <a:pt x="1538" y="1178"/>
                </a:cubicBezTo>
                <a:cubicBezTo>
                  <a:pt x="1537" y="1173"/>
                  <a:pt x="1537" y="1173"/>
                  <a:pt x="1537" y="1173"/>
                </a:cubicBezTo>
                <a:cubicBezTo>
                  <a:pt x="1539" y="1176"/>
                  <a:pt x="1539" y="1176"/>
                  <a:pt x="1539" y="1176"/>
                </a:cubicBezTo>
                <a:cubicBezTo>
                  <a:pt x="1538" y="1174"/>
                  <a:pt x="1538" y="1174"/>
                  <a:pt x="1538" y="1174"/>
                </a:cubicBezTo>
                <a:cubicBezTo>
                  <a:pt x="1539" y="1171"/>
                  <a:pt x="1539" y="1171"/>
                  <a:pt x="1539" y="1171"/>
                </a:cubicBezTo>
                <a:cubicBezTo>
                  <a:pt x="1542" y="1168"/>
                  <a:pt x="1542" y="1168"/>
                  <a:pt x="1542" y="1168"/>
                </a:cubicBezTo>
                <a:cubicBezTo>
                  <a:pt x="1540" y="1163"/>
                  <a:pt x="1540" y="1163"/>
                  <a:pt x="1540" y="1163"/>
                </a:cubicBezTo>
                <a:cubicBezTo>
                  <a:pt x="1541" y="1161"/>
                  <a:pt x="1542" y="1162"/>
                  <a:pt x="1542" y="1165"/>
                </a:cubicBezTo>
                <a:cubicBezTo>
                  <a:pt x="1544" y="1169"/>
                  <a:pt x="1544" y="1169"/>
                  <a:pt x="1544" y="1169"/>
                </a:cubicBezTo>
                <a:cubicBezTo>
                  <a:pt x="1543" y="1170"/>
                  <a:pt x="1544" y="1170"/>
                  <a:pt x="1545" y="1171"/>
                </a:cubicBezTo>
                <a:cubicBezTo>
                  <a:pt x="1546" y="1171"/>
                  <a:pt x="1546" y="1171"/>
                  <a:pt x="1546" y="1171"/>
                </a:cubicBezTo>
                <a:cubicBezTo>
                  <a:pt x="1547" y="1171"/>
                  <a:pt x="1547" y="1171"/>
                  <a:pt x="1547" y="1171"/>
                </a:cubicBezTo>
                <a:cubicBezTo>
                  <a:pt x="1548" y="1171"/>
                  <a:pt x="1548" y="1171"/>
                  <a:pt x="1548" y="1171"/>
                </a:cubicBezTo>
                <a:cubicBezTo>
                  <a:pt x="1548" y="1170"/>
                  <a:pt x="1548" y="1170"/>
                  <a:pt x="1548" y="1169"/>
                </a:cubicBezTo>
                <a:cubicBezTo>
                  <a:pt x="1547" y="1167"/>
                  <a:pt x="1547" y="1167"/>
                  <a:pt x="1547" y="1167"/>
                </a:cubicBezTo>
                <a:cubicBezTo>
                  <a:pt x="1549" y="1166"/>
                  <a:pt x="1549" y="1166"/>
                  <a:pt x="1549" y="1166"/>
                </a:cubicBezTo>
                <a:cubicBezTo>
                  <a:pt x="1550" y="1166"/>
                  <a:pt x="1550" y="1167"/>
                  <a:pt x="1551" y="1167"/>
                </a:cubicBezTo>
                <a:cubicBezTo>
                  <a:pt x="1550" y="1167"/>
                  <a:pt x="1550" y="1167"/>
                  <a:pt x="1550" y="1167"/>
                </a:cubicBezTo>
                <a:cubicBezTo>
                  <a:pt x="1552" y="1171"/>
                  <a:pt x="1552" y="1171"/>
                  <a:pt x="1552" y="1171"/>
                </a:cubicBezTo>
                <a:cubicBezTo>
                  <a:pt x="1548" y="1173"/>
                  <a:pt x="1548" y="1173"/>
                  <a:pt x="1548" y="1173"/>
                </a:cubicBezTo>
                <a:cubicBezTo>
                  <a:pt x="1547" y="1181"/>
                  <a:pt x="1547" y="1181"/>
                  <a:pt x="1547" y="1181"/>
                </a:cubicBezTo>
                <a:cubicBezTo>
                  <a:pt x="1546" y="1183"/>
                  <a:pt x="1546" y="1183"/>
                  <a:pt x="1546" y="1183"/>
                </a:cubicBezTo>
                <a:cubicBezTo>
                  <a:pt x="1547" y="1186"/>
                  <a:pt x="1547" y="1186"/>
                  <a:pt x="1547" y="1186"/>
                </a:cubicBezTo>
                <a:cubicBezTo>
                  <a:pt x="1546" y="1192"/>
                  <a:pt x="1546" y="1192"/>
                  <a:pt x="1546" y="1192"/>
                </a:cubicBezTo>
                <a:cubicBezTo>
                  <a:pt x="1547" y="1196"/>
                  <a:pt x="1547" y="1196"/>
                  <a:pt x="1547" y="1196"/>
                </a:cubicBezTo>
                <a:cubicBezTo>
                  <a:pt x="1550" y="1199"/>
                  <a:pt x="1550" y="1199"/>
                  <a:pt x="1550" y="1199"/>
                </a:cubicBezTo>
                <a:cubicBezTo>
                  <a:pt x="1552" y="1198"/>
                  <a:pt x="1552" y="1198"/>
                  <a:pt x="1552" y="1198"/>
                </a:cubicBezTo>
                <a:cubicBezTo>
                  <a:pt x="1555" y="1198"/>
                  <a:pt x="1555" y="1198"/>
                  <a:pt x="1555" y="1198"/>
                </a:cubicBezTo>
                <a:cubicBezTo>
                  <a:pt x="1555" y="1198"/>
                  <a:pt x="1555" y="1199"/>
                  <a:pt x="1555" y="1199"/>
                </a:cubicBezTo>
                <a:cubicBezTo>
                  <a:pt x="1556" y="1200"/>
                  <a:pt x="1556" y="1201"/>
                  <a:pt x="1557" y="1201"/>
                </a:cubicBezTo>
                <a:cubicBezTo>
                  <a:pt x="1559" y="1199"/>
                  <a:pt x="1559" y="1199"/>
                  <a:pt x="1559" y="1199"/>
                </a:cubicBezTo>
                <a:cubicBezTo>
                  <a:pt x="1557" y="1192"/>
                  <a:pt x="1557" y="1192"/>
                  <a:pt x="1557" y="1192"/>
                </a:cubicBezTo>
                <a:cubicBezTo>
                  <a:pt x="1559" y="1190"/>
                  <a:pt x="1559" y="1190"/>
                  <a:pt x="1559" y="1190"/>
                </a:cubicBezTo>
                <a:cubicBezTo>
                  <a:pt x="1559" y="1195"/>
                  <a:pt x="1559" y="1195"/>
                  <a:pt x="1559" y="1195"/>
                </a:cubicBezTo>
                <a:cubicBezTo>
                  <a:pt x="1561" y="1199"/>
                  <a:pt x="1561" y="1199"/>
                  <a:pt x="1561" y="1199"/>
                </a:cubicBezTo>
                <a:cubicBezTo>
                  <a:pt x="1564" y="1199"/>
                  <a:pt x="1564" y="1199"/>
                  <a:pt x="1564" y="1199"/>
                </a:cubicBezTo>
                <a:cubicBezTo>
                  <a:pt x="1567" y="1202"/>
                  <a:pt x="1567" y="1202"/>
                  <a:pt x="1567" y="1202"/>
                </a:cubicBezTo>
                <a:cubicBezTo>
                  <a:pt x="1568" y="1199"/>
                  <a:pt x="1568" y="1199"/>
                  <a:pt x="1568" y="1199"/>
                </a:cubicBezTo>
                <a:cubicBezTo>
                  <a:pt x="1568" y="1201"/>
                  <a:pt x="1569" y="1201"/>
                  <a:pt x="1570" y="1202"/>
                </a:cubicBezTo>
                <a:cubicBezTo>
                  <a:pt x="1570" y="1202"/>
                  <a:pt x="1570" y="1202"/>
                  <a:pt x="1571" y="1202"/>
                </a:cubicBezTo>
                <a:cubicBezTo>
                  <a:pt x="1571" y="1200"/>
                  <a:pt x="1571" y="1200"/>
                  <a:pt x="1571" y="1200"/>
                </a:cubicBezTo>
                <a:cubicBezTo>
                  <a:pt x="1570" y="1199"/>
                  <a:pt x="1570" y="1199"/>
                  <a:pt x="1570" y="1199"/>
                </a:cubicBezTo>
                <a:cubicBezTo>
                  <a:pt x="1571" y="1199"/>
                  <a:pt x="1571" y="1199"/>
                  <a:pt x="1571" y="1199"/>
                </a:cubicBezTo>
                <a:cubicBezTo>
                  <a:pt x="1571" y="1200"/>
                  <a:pt x="1571" y="1200"/>
                  <a:pt x="1571" y="1200"/>
                </a:cubicBezTo>
                <a:cubicBezTo>
                  <a:pt x="1572" y="1201"/>
                  <a:pt x="1572" y="1201"/>
                  <a:pt x="1572" y="1201"/>
                </a:cubicBezTo>
                <a:cubicBezTo>
                  <a:pt x="1575" y="1201"/>
                  <a:pt x="1575" y="1201"/>
                  <a:pt x="1575" y="1201"/>
                </a:cubicBezTo>
                <a:cubicBezTo>
                  <a:pt x="1576" y="1197"/>
                  <a:pt x="1576" y="1197"/>
                  <a:pt x="1576" y="1197"/>
                </a:cubicBezTo>
                <a:cubicBezTo>
                  <a:pt x="1573" y="1192"/>
                  <a:pt x="1573" y="1192"/>
                  <a:pt x="1573" y="1192"/>
                </a:cubicBezTo>
                <a:cubicBezTo>
                  <a:pt x="1571" y="1191"/>
                  <a:pt x="1571" y="1191"/>
                  <a:pt x="1571" y="1191"/>
                </a:cubicBezTo>
                <a:cubicBezTo>
                  <a:pt x="1571" y="1182"/>
                  <a:pt x="1571" y="1182"/>
                  <a:pt x="1571" y="1182"/>
                </a:cubicBezTo>
                <a:cubicBezTo>
                  <a:pt x="1568" y="1180"/>
                  <a:pt x="1568" y="1179"/>
                  <a:pt x="1571" y="1178"/>
                </a:cubicBezTo>
                <a:cubicBezTo>
                  <a:pt x="1571" y="1178"/>
                  <a:pt x="1571" y="1177"/>
                  <a:pt x="1572" y="1177"/>
                </a:cubicBezTo>
                <a:cubicBezTo>
                  <a:pt x="1572" y="1177"/>
                  <a:pt x="1572" y="1177"/>
                  <a:pt x="1573" y="1177"/>
                </a:cubicBezTo>
                <a:cubicBezTo>
                  <a:pt x="1575" y="1176"/>
                  <a:pt x="1575" y="1176"/>
                  <a:pt x="1575" y="1176"/>
                </a:cubicBezTo>
                <a:cubicBezTo>
                  <a:pt x="1575" y="1171"/>
                  <a:pt x="1575" y="1171"/>
                  <a:pt x="1575" y="1171"/>
                </a:cubicBezTo>
                <a:cubicBezTo>
                  <a:pt x="1572" y="1163"/>
                  <a:pt x="1572" y="1163"/>
                  <a:pt x="1572" y="1163"/>
                </a:cubicBezTo>
                <a:cubicBezTo>
                  <a:pt x="1576" y="1160"/>
                  <a:pt x="1576" y="1160"/>
                  <a:pt x="1576" y="1160"/>
                </a:cubicBezTo>
                <a:cubicBezTo>
                  <a:pt x="1574" y="1160"/>
                  <a:pt x="1574" y="1160"/>
                  <a:pt x="1574" y="1160"/>
                </a:cubicBezTo>
                <a:cubicBezTo>
                  <a:pt x="1574" y="1157"/>
                  <a:pt x="1574" y="1157"/>
                  <a:pt x="1574" y="1157"/>
                </a:cubicBezTo>
                <a:cubicBezTo>
                  <a:pt x="1572" y="1153"/>
                  <a:pt x="1572" y="1153"/>
                  <a:pt x="1572" y="1153"/>
                </a:cubicBezTo>
                <a:cubicBezTo>
                  <a:pt x="1569" y="1150"/>
                  <a:pt x="1569" y="1150"/>
                  <a:pt x="1569" y="1150"/>
                </a:cubicBezTo>
                <a:cubicBezTo>
                  <a:pt x="1571" y="1149"/>
                  <a:pt x="1571" y="1149"/>
                  <a:pt x="1571" y="1149"/>
                </a:cubicBezTo>
                <a:cubicBezTo>
                  <a:pt x="1569" y="1147"/>
                  <a:pt x="1569" y="1147"/>
                  <a:pt x="1569" y="1147"/>
                </a:cubicBezTo>
                <a:cubicBezTo>
                  <a:pt x="1569" y="1142"/>
                  <a:pt x="1569" y="1142"/>
                  <a:pt x="1569" y="1142"/>
                </a:cubicBezTo>
                <a:cubicBezTo>
                  <a:pt x="1567" y="1140"/>
                  <a:pt x="1567" y="1140"/>
                  <a:pt x="1567" y="1140"/>
                </a:cubicBezTo>
                <a:cubicBezTo>
                  <a:pt x="1569" y="1139"/>
                  <a:pt x="1569" y="1139"/>
                  <a:pt x="1569" y="1139"/>
                </a:cubicBezTo>
                <a:cubicBezTo>
                  <a:pt x="1566" y="1130"/>
                  <a:pt x="1566" y="1130"/>
                  <a:pt x="1566" y="1130"/>
                </a:cubicBezTo>
                <a:cubicBezTo>
                  <a:pt x="1563" y="1128"/>
                  <a:pt x="1563" y="1128"/>
                  <a:pt x="1563" y="1128"/>
                </a:cubicBezTo>
                <a:cubicBezTo>
                  <a:pt x="1565" y="1128"/>
                  <a:pt x="1565" y="1128"/>
                  <a:pt x="1565" y="1128"/>
                </a:cubicBezTo>
                <a:cubicBezTo>
                  <a:pt x="1564" y="1126"/>
                  <a:pt x="1564" y="1126"/>
                  <a:pt x="1564" y="1126"/>
                </a:cubicBezTo>
                <a:cubicBezTo>
                  <a:pt x="1566" y="1124"/>
                  <a:pt x="1566" y="1124"/>
                  <a:pt x="1566" y="1124"/>
                </a:cubicBezTo>
                <a:cubicBezTo>
                  <a:pt x="1564" y="1123"/>
                  <a:pt x="1564" y="1123"/>
                  <a:pt x="1564" y="1123"/>
                </a:cubicBezTo>
                <a:cubicBezTo>
                  <a:pt x="1564" y="1122"/>
                  <a:pt x="1564" y="1122"/>
                  <a:pt x="1564" y="1122"/>
                </a:cubicBezTo>
                <a:cubicBezTo>
                  <a:pt x="1564" y="1121"/>
                  <a:pt x="1564" y="1121"/>
                  <a:pt x="1564" y="1121"/>
                </a:cubicBezTo>
                <a:cubicBezTo>
                  <a:pt x="1566" y="1119"/>
                  <a:pt x="1566" y="1119"/>
                  <a:pt x="1566" y="1119"/>
                </a:cubicBezTo>
                <a:cubicBezTo>
                  <a:pt x="1562" y="1113"/>
                  <a:pt x="1562" y="1113"/>
                  <a:pt x="1562" y="1113"/>
                </a:cubicBezTo>
                <a:cubicBezTo>
                  <a:pt x="1566" y="1110"/>
                  <a:pt x="1566" y="1110"/>
                  <a:pt x="1566" y="1110"/>
                </a:cubicBezTo>
                <a:cubicBezTo>
                  <a:pt x="1566" y="1107"/>
                  <a:pt x="1566" y="1107"/>
                  <a:pt x="1566" y="1107"/>
                </a:cubicBezTo>
                <a:cubicBezTo>
                  <a:pt x="1565" y="1105"/>
                  <a:pt x="1565" y="1105"/>
                  <a:pt x="1565" y="1105"/>
                </a:cubicBezTo>
                <a:cubicBezTo>
                  <a:pt x="1562" y="1103"/>
                  <a:pt x="1562" y="1103"/>
                  <a:pt x="1562" y="1103"/>
                </a:cubicBezTo>
                <a:cubicBezTo>
                  <a:pt x="1562" y="1101"/>
                  <a:pt x="1562" y="1101"/>
                  <a:pt x="1562" y="1101"/>
                </a:cubicBezTo>
                <a:cubicBezTo>
                  <a:pt x="1562" y="1098"/>
                  <a:pt x="1562" y="1098"/>
                  <a:pt x="1562" y="1098"/>
                </a:cubicBezTo>
                <a:cubicBezTo>
                  <a:pt x="1559" y="1098"/>
                  <a:pt x="1559" y="1098"/>
                  <a:pt x="1559" y="1098"/>
                </a:cubicBezTo>
                <a:cubicBezTo>
                  <a:pt x="1559" y="1097"/>
                  <a:pt x="1559" y="1097"/>
                  <a:pt x="1559" y="1096"/>
                </a:cubicBezTo>
                <a:cubicBezTo>
                  <a:pt x="1559" y="1094"/>
                  <a:pt x="1559" y="1094"/>
                  <a:pt x="1559" y="1094"/>
                </a:cubicBezTo>
                <a:cubicBezTo>
                  <a:pt x="1560" y="1092"/>
                  <a:pt x="1560" y="1092"/>
                  <a:pt x="1560" y="1092"/>
                </a:cubicBezTo>
                <a:cubicBezTo>
                  <a:pt x="1559" y="1088"/>
                  <a:pt x="1559" y="1088"/>
                  <a:pt x="1559" y="1088"/>
                </a:cubicBezTo>
                <a:cubicBezTo>
                  <a:pt x="1560" y="1086"/>
                  <a:pt x="1560" y="1086"/>
                  <a:pt x="1560" y="1086"/>
                </a:cubicBezTo>
                <a:cubicBezTo>
                  <a:pt x="1562" y="1085"/>
                  <a:pt x="1562" y="1085"/>
                  <a:pt x="1562" y="1085"/>
                </a:cubicBezTo>
                <a:cubicBezTo>
                  <a:pt x="1564" y="1080"/>
                  <a:pt x="1564" y="1080"/>
                  <a:pt x="1564" y="1080"/>
                </a:cubicBezTo>
                <a:cubicBezTo>
                  <a:pt x="1567" y="1079"/>
                  <a:pt x="1567" y="1079"/>
                  <a:pt x="1567" y="1079"/>
                </a:cubicBezTo>
                <a:cubicBezTo>
                  <a:pt x="1566" y="1077"/>
                  <a:pt x="1566" y="1077"/>
                  <a:pt x="1566" y="1077"/>
                </a:cubicBezTo>
                <a:cubicBezTo>
                  <a:pt x="1558" y="1076"/>
                  <a:pt x="1558" y="1076"/>
                  <a:pt x="1558" y="1076"/>
                </a:cubicBezTo>
                <a:cubicBezTo>
                  <a:pt x="1556" y="1074"/>
                  <a:pt x="1556" y="1074"/>
                  <a:pt x="1556" y="1074"/>
                </a:cubicBezTo>
                <a:cubicBezTo>
                  <a:pt x="1555" y="1075"/>
                  <a:pt x="1555" y="1076"/>
                  <a:pt x="1554" y="1077"/>
                </a:cubicBezTo>
                <a:cubicBezTo>
                  <a:pt x="1554" y="1076"/>
                  <a:pt x="1553" y="1075"/>
                  <a:pt x="1552" y="1075"/>
                </a:cubicBezTo>
                <a:cubicBezTo>
                  <a:pt x="1549" y="1075"/>
                  <a:pt x="1549" y="1075"/>
                  <a:pt x="1549" y="1075"/>
                </a:cubicBezTo>
                <a:cubicBezTo>
                  <a:pt x="1546" y="1071"/>
                  <a:pt x="1546" y="1071"/>
                  <a:pt x="1546" y="1071"/>
                </a:cubicBezTo>
                <a:cubicBezTo>
                  <a:pt x="1548" y="1069"/>
                  <a:pt x="1548" y="1069"/>
                  <a:pt x="1548" y="1069"/>
                </a:cubicBezTo>
                <a:cubicBezTo>
                  <a:pt x="1550" y="1066"/>
                  <a:pt x="1550" y="1066"/>
                  <a:pt x="1550" y="1066"/>
                </a:cubicBezTo>
                <a:cubicBezTo>
                  <a:pt x="1550" y="1065"/>
                  <a:pt x="1551" y="1065"/>
                  <a:pt x="1551" y="1065"/>
                </a:cubicBezTo>
                <a:cubicBezTo>
                  <a:pt x="1551" y="1065"/>
                  <a:pt x="1551" y="1064"/>
                  <a:pt x="1551" y="1063"/>
                </a:cubicBezTo>
                <a:cubicBezTo>
                  <a:pt x="1552" y="1055"/>
                  <a:pt x="1552" y="1055"/>
                  <a:pt x="1552" y="1055"/>
                </a:cubicBezTo>
                <a:cubicBezTo>
                  <a:pt x="1551" y="1057"/>
                  <a:pt x="1551" y="1057"/>
                  <a:pt x="1551" y="1057"/>
                </a:cubicBezTo>
                <a:cubicBezTo>
                  <a:pt x="1548" y="1054"/>
                  <a:pt x="1548" y="1054"/>
                  <a:pt x="1548" y="1054"/>
                </a:cubicBezTo>
                <a:cubicBezTo>
                  <a:pt x="1543" y="1051"/>
                  <a:pt x="1543" y="1051"/>
                  <a:pt x="1543" y="1051"/>
                </a:cubicBezTo>
                <a:cubicBezTo>
                  <a:pt x="1542" y="1048"/>
                  <a:pt x="1542" y="1048"/>
                  <a:pt x="1542" y="1048"/>
                </a:cubicBezTo>
                <a:cubicBezTo>
                  <a:pt x="1538" y="1047"/>
                  <a:pt x="1538" y="1047"/>
                  <a:pt x="1538" y="1047"/>
                </a:cubicBezTo>
                <a:cubicBezTo>
                  <a:pt x="1538" y="1044"/>
                  <a:pt x="1538" y="1044"/>
                  <a:pt x="1538" y="1044"/>
                </a:cubicBezTo>
                <a:cubicBezTo>
                  <a:pt x="1536" y="1044"/>
                  <a:pt x="1536" y="1044"/>
                  <a:pt x="1536" y="1044"/>
                </a:cubicBezTo>
                <a:cubicBezTo>
                  <a:pt x="1536" y="1043"/>
                  <a:pt x="1537" y="1043"/>
                  <a:pt x="1537" y="1042"/>
                </a:cubicBezTo>
                <a:cubicBezTo>
                  <a:pt x="1536" y="1039"/>
                  <a:pt x="1536" y="1039"/>
                  <a:pt x="1536" y="1039"/>
                </a:cubicBezTo>
                <a:cubicBezTo>
                  <a:pt x="1536" y="1033"/>
                  <a:pt x="1536" y="1033"/>
                  <a:pt x="1536" y="1033"/>
                </a:cubicBezTo>
                <a:cubicBezTo>
                  <a:pt x="1538" y="1032"/>
                  <a:pt x="1538" y="1032"/>
                  <a:pt x="1538" y="1032"/>
                </a:cubicBezTo>
                <a:cubicBezTo>
                  <a:pt x="1538" y="1031"/>
                  <a:pt x="1538" y="1031"/>
                  <a:pt x="1538" y="1030"/>
                </a:cubicBezTo>
                <a:cubicBezTo>
                  <a:pt x="1538" y="1027"/>
                  <a:pt x="1538" y="1027"/>
                  <a:pt x="1538" y="1027"/>
                </a:cubicBezTo>
                <a:cubicBezTo>
                  <a:pt x="1544" y="1027"/>
                  <a:pt x="1544" y="1027"/>
                  <a:pt x="1544" y="1027"/>
                </a:cubicBezTo>
                <a:cubicBezTo>
                  <a:pt x="1549" y="1022"/>
                  <a:pt x="1549" y="1022"/>
                  <a:pt x="1549" y="1022"/>
                </a:cubicBezTo>
                <a:cubicBezTo>
                  <a:pt x="1549" y="1019"/>
                  <a:pt x="1549" y="1019"/>
                  <a:pt x="1549" y="1019"/>
                </a:cubicBezTo>
                <a:cubicBezTo>
                  <a:pt x="1551" y="1018"/>
                  <a:pt x="1551" y="1017"/>
                  <a:pt x="1550" y="1017"/>
                </a:cubicBezTo>
                <a:cubicBezTo>
                  <a:pt x="1550" y="1016"/>
                  <a:pt x="1550" y="1016"/>
                  <a:pt x="1549" y="1016"/>
                </a:cubicBezTo>
                <a:cubicBezTo>
                  <a:pt x="1549" y="1016"/>
                  <a:pt x="1549" y="1016"/>
                  <a:pt x="1548" y="1017"/>
                </a:cubicBezTo>
                <a:cubicBezTo>
                  <a:pt x="1549" y="1013"/>
                  <a:pt x="1549" y="1013"/>
                  <a:pt x="1549" y="1013"/>
                </a:cubicBezTo>
                <a:cubicBezTo>
                  <a:pt x="1546" y="1010"/>
                  <a:pt x="1546" y="1010"/>
                  <a:pt x="1546" y="1010"/>
                </a:cubicBezTo>
                <a:cubicBezTo>
                  <a:pt x="1548" y="994"/>
                  <a:pt x="1548" y="994"/>
                  <a:pt x="1548" y="994"/>
                </a:cubicBezTo>
                <a:cubicBezTo>
                  <a:pt x="1546" y="991"/>
                  <a:pt x="1546" y="991"/>
                  <a:pt x="1546" y="991"/>
                </a:cubicBezTo>
                <a:cubicBezTo>
                  <a:pt x="1543" y="993"/>
                  <a:pt x="1543" y="993"/>
                  <a:pt x="1543" y="993"/>
                </a:cubicBezTo>
                <a:cubicBezTo>
                  <a:pt x="1536" y="991"/>
                  <a:pt x="1536" y="991"/>
                  <a:pt x="1536" y="991"/>
                </a:cubicBezTo>
                <a:cubicBezTo>
                  <a:pt x="1532" y="992"/>
                  <a:pt x="1532" y="992"/>
                  <a:pt x="1532" y="992"/>
                </a:cubicBezTo>
                <a:cubicBezTo>
                  <a:pt x="1518" y="982"/>
                  <a:pt x="1518" y="982"/>
                  <a:pt x="1518" y="982"/>
                </a:cubicBezTo>
                <a:cubicBezTo>
                  <a:pt x="1516" y="982"/>
                  <a:pt x="1516" y="982"/>
                  <a:pt x="1516" y="982"/>
                </a:cubicBezTo>
                <a:cubicBezTo>
                  <a:pt x="1514" y="981"/>
                  <a:pt x="1514" y="981"/>
                  <a:pt x="1514" y="981"/>
                </a:cubicBezTo>
                <a:cubicBezTo>
                  <a:pt x="1502" y="976"/>
                  <a:pt x="1502" y="976"/>
                  <a:pt x="1502" y="976"/>
                </a:cubicBezTo>
                <a:cubicBezTo>
                  <a:pt x="1496" y="963"/>
                  <a:pt x="1496" y="963"/>
                  <a:pt x="1496" y="963"/>
                </a:cubicBezTo>
                <a:cubicBezTo>
                  <a:pt x="1498" y="959"/>
                  <a:pt x="1498" y="959"/>
                  <a:pt x="1498" y="959"/>
                </a:cubicBezTo>
                <a:cubicBezTo>
                  <a:pt x="1498" y="959"/>
                  <a:pt x="1498" y="959"/>
                  <a:pt x="1498" y="958"/>
                </a:cubicBezTo>
                <a:cubicBezTo>
                  <a:pt x="1498" y="958"/>
                  <a:pt x="1498" y="958"/>
                  <a:pt x="1498" y="957"/>
                </a:cubicBezTo>
                <a:cubicBezTo>
                  <a:pt x="1500" y="956"/>
                  <a:pt x="1500" y="956"/>
                  <a:pt x="1500" y="956"/>
                </a:cubicBezTo>
                <a:cubicBezTo>
                  <a:pt x="1506" y="951"/>
                  <a:pt x="1506" y="951"/>
                  <a:pt x="1506" y="951"/>
                </a:cubicBezTo>
                <a:cubicBezTo>
                  <a:pt x="1505" y="947"/>
                  <a:pt x="1505" y="947"/>
                  <a:pt x="1505" y="947"/>
                </a:cubicBezTo>
                <a:cubicBezTo>
                  <a:pt x="1503" y="944"/>
                  <a:pt x="1503" y="944"/>
                  <a:pt x="1503" y="944"/>
                </a:cubicBezTo>
                <a:cubicBezTo>
                  <a:pt x="1509" y="943"/>
                  <a:pt x="1509" y="943"/>
                  <a:pt x="1509" y="943"/>
                </a:cubicBezTo>
                <a:cubicBezTo>
                  <a:pt x="1513" y="945"/>
                  <a:pt x="1513" y="945"/>
                  <a:pt x="1513" y="945"/>
                </a:cubicBezTo>
                <a:cubicBezTo>
                  <a:pt x="1513" y="948"/>
                  <a:pt x="1513" y="948"/>
                  <a:pt x="1513" y="948"/>
                </a:cubicBezTo>
                <a:cubicBezTo>
                  <a:pt x="1518" y="949"/>
                  <a:pt x="1518" y="949"/>
                  <a:pt x="1518" y="949"/>
                </a:cubicBezTo>
                <a:cubicBezTo>
                  <a:pt x="1518" y="948"/>
                  <a:pt x="1518" y="947"/>
                  <a:pt x="1518" y="947"/>
                </a:cubicBezTo>
                <a:cubicBezTo>
                  <a:pt x="1518" y="947"/>
                  <a:pt x="1517" y="947"/>
                  <a:pt x="1517" y="947"/>
                </a:cubicBezTo>
                <a:cubicBezTo>
                  <a:pt x="1518" y="943"/>
                  <a:pt x="1518" y="943"/>
                  <a:pt x="1518" y="943"/>
                </a:cubicBezTo>
                <a:cubicBezTo>
                  <a:pt x="1522" y="943"/>
                  <a:pt x="1522" y="943"/>
                  <a:pt x="1522" y="943"/>
                </a:cubicBezTo>
                <a:cubicBezTo>
                  <a:pt x="1524" y="940"/>
                  <a:pt x="1524" y="940"/>
                  <a:pt x="1524" y="940"/>
                </a:cubicBezTo>
                <a:cubicBezTo>
                  <a:pt x="1526" y="938"/>
                  <a:pt x="1526" y="938"/>
                  <a:pt x="1526" y="938"/>
                </a:cubicBezTo>
                <a:cubicBezTo>
                  <a:pt x="1526" y="936"/>
                  <a:pt x="1526" y="936"/>
                  <a:pt x="1526" y="936"/>
                </a:cubicBezTo>
                <a:cubicBezTo>
                  <a:pt x="1526" y="934"/>
                  <a:pt x="1526" y="934"/>
                  <a:pt x="1526" y="934"/>
                </a:cubicBezTo>
                <a:cubicBezTo>
                  <a:pt x="1526" y="929"/>
                  <a:pt x="1526" y="929"/>
                  <a:pt x="1526" y="929"/>
                </a:cubicBezTo>
                <a:cubicBezTo>
                  <a:pt x="1528" y="927"/>
                  <a:pt x="1528" y="927"/>
                  <a:pt x="1528" y="927"/>
                </a:cubicBezTo>
                <a:cubicBezTo>
                  <a:pt x="1526" y="924"/>
                  <a:pt x="1526" y="924"/>
                  <a:pt x="1526" y="924"/>
                </a:cubicBezTo>
                <a:cubicBezTo>
                  <a:pt x="1531" y="923"/>
                  <a:pt x="1531" y="923"/>
                  <a:pt x="1531" y="923"/>
                </a:cubicBezTo>
                <a:cubicBezTo>
                  <a:pt x="1533" y="925"/>
                  <a:pt x="1533" y="925"/>
                  <a:pt x="1533" y="925"/>
                </a:cubicBezTo>
                <a:cubicBezTo>
                  <a:pt x="1534" y="925"/>
                  <a:pt x="1534" y="925"/>
                  <a:pt x="1535" y="925"/>
                </a:cubicBezTo>
                <a:cubicBezTo>
                  <a:pt x="1535" y="925"/>
                  <a:pt x="1535" y="925"/>
                  <a:pt x="1535" y="925"/>
                </a:cubicBezTo>
                <a:cubicBezTo>
                  <a:pt x="1537" y="924"/>
                  <a:pt x="1537" y="924"/>
                  <a:pt x="1537" y="924"/>
                </a:cubicBezTo>
                <a:cubicBezTo>
                  <a:pt x="1546" y="923"/>
                  <a:pt x="1546" y="923"/>
                  <a:pt x="1546" y="923"/>
                </a:cubicBezTo>
                <a:cubicBezTo>
                  <a:pt x="1549" y="925"/>
                  <a:pt x="1549" y="925"/>
                  <a:pt x="1549" y="925"/>
                </a:cubicBezTo>
                <a:cubicBezTo>
                  <a:pt x="1552" y="924"/>
                  <a:pt x="1552" y="924"/>
                  <a:pt x="1552" y="924"/>
                </a:cubicBezTo>
                <a:cubicBezTo>
                  <a:pt x="1552" y="924"/>
                  <a:pt x="1552" y="924"/>
                  <a:pt x="1552" y="925"/>
                </a:cubicBezTo>
                <a:cubicBezTo>
                  <a:pt x="1552" y="925"/>
                  <a:pt x="1552" y="925"/>
                  <a:pt x="1553" y="925"/>
                </a:cubicBezTo>
                <a:cubicBezTo>
                  <a:pt x="1555" y="923"/>
                  <a:pt x="1555" y="923"/>
                  <a:pt x="1555" y="923"/>
                </a:cubicBezTo>
                <a:cubicBezTo>
                  <a:pt x="1564" y="925"/>
                  <a:pt x="1564" y="925"/>
                  <a:pt x="1564" y="925"/>
                </a:cubicBezTo>
                <a:cubicBezTo>
                  <a:pt x="1563" y="923"/>
                  <a:pt x="1563" y="922"/>
                  <a:pt x="1565" y="923"/>
                </a:cubicBezTo>
                <a:cubicBezTo>
                  <a:pt x="1564" y="919"/>
                  <a:pt x="1564" y="919"/>
                  <a:pt x="1564" y="919"/>
                </a:cubicBezTo>
                <a:cubicBezTo>
                  <a:pt x="1569" y="916"/>
                  <a:pt x="1569" y="916"/>
                  <a:pt x="1569" y="916"/>
                </a:cubicBezTo>
                <a:cubicBezTo>
                  <a:pt x="1568" y="915"/>
                  <a:pt x="1568" y="915"/>
                  <a:pt x="1568" y="915"/>
                </a:cubicBezTo>
                <a:cubicBezTo>
                  <a:pt x="1561" y="914"/>
                  <a:pt x="1561" y="914"/>
                  <a:pt x="1561" y="914"/>
                </a:cubicBezTo>
                <a:cubicBezTo>
                  <a:pt x="1560" y="913"/>
                  <a:pt x="1560" y="913"/>
                  <a:pt x="1559" y="913"/>
                </a:cubicBezTo>
                <a:cubicBezTo>
                  <a:pt x="1559" y="913"/>
                  <a:pt x="1559" y="913"/>
                  <a:pt x="1559" y="913"/>
                </a:cubicBezTo>
                <a:cubicBezTo>
                  <a:pt x="1554" y="907"/>
                  <a:pt x="1554" y="907"/>
                  <a:pt x="1554" y="907"/>
                </a:cubicBezTo>
                <a:cubicBezTo>
                  <a:pt x="1555" y="904"/>
                  <a:pt x="1555" y="904"/>
                  <a:pt x="1555" y="904"/>
                </a:cubicBezTo>
                <a:cubicBezTo>
                  <a:pt x="1556" y="903"/>
                  <a:pt x="1556" y="903"/>
                  <a:pt x="1556" y="903"/>
                </a:cubicBezTo>
                <a:cubicBezTo>
                  <a:pt x="1556" y="903"/>
                  <a:pt x="1556" y="902"/>
                  <a:pt x="1556" y="902"/>
                </a:cubicBezTo>
                <a:cubicBezTo>
                  <a:pt x="1553" y="899"/>
                  <a:pt x="1553" y="899"/>
                  <a:pt x="1553" y="899"/>
                </a:cubicBezTo>
                <a:cubicBezTo>
                  <a:pt x="1553" y="897"/>
                  <a:pt x="1552" y="897"/>
                  <a:pt x="1550" y="899"/>
                </a:cubicBezTo>
                <a:cubicBezTo>
                  <a:pt x="1551" y="901"/>
                  <a:pt x="1550" y="901"/>
                  <a:pt x="1548" y="899"/>
                </a:cubicBezTo>
                <a:cubicBezTo>
                  <a:pt x="1546" y="901"/>
                  <a:pt x="1546" y="901"/>
                  <a:pt x="1546" y="901"/>
                </a:cubicBezTo>
                <a:cubicBezTo>
                  <a:pt x="1542" y="902"/>
                  <a:pt x="1542" y="902"/>
                  <a:pt x="1542" y="902"/>
                </a:cubicBezTo>
                <a:cubicBezTo>
                  <a:pt x="1541" y="901"/>
                  <a:pt x="1540" y="901"/>
                  <a:pt x="1539" y="900"/>
                </a:cubicBezTo>
                <a:cubicBezTo>
                  <a:pt x="1538" y="899"/>
                  <a:pt x="1538" y="899"/>
                  <a:pt x="1538" y="899"/>
                </a:cubicBezTo>
                <a:cubicBezTo>
                  <a:pt x="1534" y="899"/>
                  <a:pt x="1534" y="899"/>
                  <a:pt x="1534" y="899"/>
                </a:cubicBezTo>
                <a:cubicBezTo>
                  <a:pt x="1532" y="897"/>
                  <a:pt x="1532" y="897"/>
                  <a:pt x="1532" y="897"/>
                </a:cubicBezTo>
                <a:cubicBezTo>
                  <a:pt x="1530" y="894"/>
                  <a:pt x="1530" y="894"/>
                  <a:pt x="1530" y="894"/>
                </a:cubicBezTo>
                <a:cubicBezTo>
                  <a:pt x="1527" y="893"/>
                  <a:pt x="1527" y="893"/>
                  <a:pt x="1527" y="893"/>
                </a:cubicBezTo>
                <a:cubicBezTo>
                  <a:pt x="1527" y="887"/>
                  <a:pt x="1527" y="887"/>
                  <a:pt x="1527" y="887"/>
                </a:cubicBezTo>
                <a:cubicBezTo>
                  <a:pt x="1523" y="887"/>
                  <a:pt x="1523" y="887"/>
                  <a:pt x="1523" y="887"/>
                </a:cubicBezTo>
                <a:cubicBezTo>
                  <a:pt x="1514" y="879"/>
                  <a:pt x="1514" y="879"/>
                  <a:pt x="1514" y="879"/>
                </a:cubicBezTo>
                <a:cubicBezTo>
                  <a:pt x="1514" y="877"/>
                  <a:pt x="1514" y="877"/>
                  <a:pt x="1514" y="877"/>
                </a:cubicBezTo>
                <a:cubicBezTo>
                  <a:pt x="1510" y="876"/>
                  <a:pt x="1510" y="876"/>
                  <a:pt x="1510" y="876"/>
                </a:cubicBezTo>
                <a:cubicBezTo>
                  <a:pt x="1508" y="878"/>
                  <a:pt x="1508" y="878"/>
                  <a:pt x="1508" y="878"/>
                </a:cubicBezTo>
                <a:cubicBezTo>
                  <a:pt x="1508" y="877"/>
                  <a:pt x="1507" y="877"/>
                  <a:pt x="1507" y="877"/>
                </a:cubicBezTo>
                <a:cubicBezTo>
                  <a:pt x="1507" y="877"/>
                  <a:pt x="1506" y="877"/>
                  <a:pt x="1506" y="877"/>
                </a:cubicBezTo>
                <a:cubicBezTo>
                  <a:pt x="1505" y="879"/>
                  <a:pt x="1505" y="879"/>
                  <a:pt x="1505" y="879"/>
                </a:cubicBezTo>
                <a:cubicBezTo>
                  <a:pt x="1501" y="875"/>
                  <a:pt x="1501" y="875"/>
                  <a:pt x="1501" y="875"/>
                </a:cubicBezTo>
                <a:cubicBezTo>
                  <a:pt x="1501" y="873"/>
                  <a:pt x="1501" y="873"/>
                  <a:pt x="1501" y="873"/>
                </a:cubicBezTo>
                <a:cubicBezTo>
                  <a:pt x="1501" y="873"/>
                  <a:pt x="1501" y="872"/>
                  <a:pt x="1500" y="872"/>
                </a:cubicBezTo>
                <a:cubicBezTo>
                  <a:pt x="1500" y="871"/>
                  <a:pt x="1500" y="871"/>
                  <a:pt x="1500" y="871"/>
                </a:cubicBezTo>
                <a:cubicBezTo>
                  <a:pt x="1500" y="867"/>
                  <a:pt x="1500" y="867"/>
                  <a:pt x="1500" y="867"/>
                </a:cubicBezTo>
                <a:cubicBezTo>
                  <a:pt x="1506" y="859"/>
                  <a:pt x="1506" y="859"/>
                  <a:pt x="1506" y="859"/>
                </a:cubicBezTo>
                <a:cubicBezTo>
                  <a:pt x="1507" y="856"/>
                  <a:pt x="1507" y="856"/>
                  <a:pt x="1507" y="856"/>
                </a:cubicBezTo>
                <a:cubicBezTo>
                  <a:pt x="1505" y="854"/>
                  <a:pt x="1505" y="854"/>
                  <a:pt x="1505" y="854"/>
                </a:cubicBezTo>
                <a:cubicBezTo>
                  <a:pt x="1506" y="850"/>
                  <a:pt x="1506" y="850"/>
                  <a:pt x="1506" y="850"/>
                </a:cubicBezTo>
                <a:cubicBezTo>
                  <a:pt x="1509" y="849"/>
                  <a:pt x="1509" y="849"/>
                  <a:pt x="1509" y="849"/>
                </a:cubicBezTo>
                <a:cubicBezTo>
                  <a:pt x="1512" y="847"/>
                  <a:pt x="1512" y="847"/>
                  <a:pt x="1512" y="847"/>
                </a:cubicBezTo>
                <a:cubicBezTo>
                  <a:pt x="1519" y="844"/>
                  <a:pt x="1519" y="844"/>
                  <a:pt x="1519" y="844"/>
                </a:cubicBezTo>
                <a:cubicBezTo>
                  <a:pt x="1520" y="839"/>
                  <a:pt x="1520" y="839"/>
                  <a:pt x="1520" y="839"/>
                </a:cubicBezTo>
                <a:cubicBezTo>
                  <a:pt x="1524" y="837"/>
                  <a:pt x="1524" y="837"/>
                  <a:pt x="1524" y="837"/>
                </a:cubicBezTo>
                <a:cubicBezTo>
                  <a:pt x="1526" y="834"/>
                  <a:pt x="1526" y="834"/>
                  <a:pt x="1526" y="834"/>
                </a:cubicBezTo>
                <a:cubicBezTo>
                  <a:pt x="1526" y="832"/>
                  <a:pt x="1527" y="832"/>
                  <a:pt x="1528" y="834"/>
                </a:cubicBezTo>
                <a:cubicBezTo>
                  <a:pt x="1532" y="833"/>
                  <a:pt x="1532" y="833"/>
                  <a:pt x="1532" y="833"/>
                </a:cubicBezTo>
                <a:cubicBezTo>
                  <a:pt x="1529" y="826"/>
                  <a:pt x="1529" y="826"/>
                  <a:pt x="1529" y="826"/>
                </a:cubicBezTo>
                <a:cubicBezTo>
                  <a:pt x="1524" y="825"/>
                  <a:pt x="1524" y="825"/>
                  <a:pt x="1524" y="825"/>
                </a:cubicBezTo>
                <a:cubicBezTo>
                  <a:pt x="1523" y="823"/>
                  <a:pt x="1523" y="823"/>
                  <a:pt x="1523" y="823"/>
                </a:cubicBezTo>
                <a:cubicBezTo>
                  <a:pt x="1522" y="824"/>
                  <a:pt x="1522" y="824"/>
                  <a:pt x="1522" y="824"/>
                </a:cubicBezTo>
                <a:cubicBezTo>
                  <a:pt x="1522" y="824"/>
                  <a:pt x="1521" y="824"/>
                  <a:pt x="1521" y="823"/>
                </a:cubicBezTo>
                <a:cubicBezTo>
                  <a:pt x="1520" y="827"/>
                  <a:pt x="1520" y="827"/>
                  <a:pt x="1520" y="827"/>
                </a:cubicBezTo>
                <a:cubicBezTo>
                  <a:pt x="1518" y="823"/>
                  <a:pt x="1518" y="823"/>
                  <a:pt x="1518" y="823"/>
                </a:cubicBezTo>
                <a:cubicBezTo>
                  <a:pt x="1523" y="815"/>
                  <a:pt x="1523" y="815"/>
                  <a:pt x="1523" y="815"/>
                </a:cubicBezTo>
                <a:cubicBezTo>
                  <a:pt x="1524" y="812"/>
                  <a:pt x="1524" y="812"/>
                  <a:pt x="1524" y="812"/>
                </a:cubicBezTo>
                <a:cubicBezTo>
                  <a:pt x="1525" y="819"/>
                  <a:pt x="1525" y="819"/>
                  <a:pt x="1525" y="819"/>
                </a:cubicBezTo>
                <a:cubicBezTo>
                  <a:pt x="1529" y="819"/>
                  <a:pt x="1529" y="819"/>
                  <a:pt x="1529" y="819"/>
                </a:cubicBezTo>
                <a:cubicBezTo>
                  <a:pt x="1530" y="821"/>
                  <a:pt x="1530" y="821"/>
                  <a:pt x="1530" y="821"/>
                </a:cubicBezTo>
                <a:cubicBezTo>
                  <a:pt x="1532" y="821"/>
                  <a:pt x="1532" y="821"/>
                  <a:pt x="1532" y="821"/>
                </a:cubicBezTo>
                <a:cubicBezTo>
                  <a:pt x="1532" y="823"/>
                  <a:pt x="1532" y="823"/>
                  <a:pt x="1532" y="823"/>
                </a:cubicBezTo>
                <a:cubicBezTo>
                  <a:pt x="1535" y="823"/>
                  <a:pt x="1535" y="823"/>
                  <a:pt x="1535" y="823"/>
                </a:cubicBezTo>
                <a:cubicBezTo>
                  <a:pt x="1535" y="824"/>
                  <a:pt x="1536" y="825"/>
                  <a:pt x="1537" y="826"/>
                </a:cubicBezTo>
                <a:cubicBezTo>
                  <a:pt x="1538" y="824"/>
                  <a:pt x="1538" y="823"/>
                  <a:pt x="1540" y="825"/>
                </a:cubicBezTo>
                <a:cubicBezTo>
                  <a:pt x="1540" y="828"/>
                  <a:pt x="1540" y="828"/>
                  <a:pt x="1540" y="828"/>
                </a:cubicBezTo>
                <a:cubicBezTo>
                  <a:pt x="1544" y="829"/>
                  <a:pt x="1544" y="829"/>
                  <a:pt x="1544" y="829"/>
                </a:cubicBezTo>
                <a:cubicBezTo>
                  <a:pt x="1544" y="831"/>
                  <a:pt x="1544" y="831"/>
                  <a:pt x="1544" y="831"/>
                </a:cubicBezTo>
                <a:cubicBezTo>
                  <a:pt x="1550" y="836"/>
                  <a:pt x="1550" y="836"/>
                  <a:pt x="1550" y="836"/>
                </a:cubicBezTo>
                <a:cubicBezTo>
                  <a:pt x="1545" y="838"/>
                  <a:pt x="1545" y="838"/>
                  <a:pt x="1545" y="838"/>
                </a:cubicBezTo>
                <a:cubicBezTo>
                  <a:pt x="1546" y="840"/>
                  <a:pt x="1545" y="840"/>
                  <a:pt x="1544" y="838"/>
                </a:cubicBezTo>
                <a:cubicBezTo>
                  <a:pt x="1544" y="841"/>
                  <a:pt x="1544" y="841"/>
                  <a:pt x="1544" y="841"/>
                </a:cubicBezTo>
                <a:cubicBezTo>
                  <a:pt x="1546" y="840"/>
                  <a:pt x="1546" y="840"/>
                  <a:pt x="1546" y="840"/>
                </a:cubicBezTo>
                <a:cubicBezTo>
                  <a:pt x="1547" y="838"/>
                  <a:pt x="1547" y="838"/>
                  <a:pt x="1547" y="838"/>
                </a:cubicBezTo>
                <a:cubicBezTo>
                  <a:pt x="1549" y="839"/>
                  <a:pt x="1549" y="839"/>
                  <a:pt x="1549" y="839"/>
                </a:cubicBezTo>
                <a:cubicBezTo>
                  <a:pt x="1549" y="838"/>
                  <a:pt x="1549" y="838"/>
                  <a:pt x="1549" y="838"/>
                </a:cubicBezTo>
                <a:cubicBezTo>
                  <a:pt x="1549" y="837"/>
                  <a:pt x="1549" y="837"/>
                  <a:pt x="1549" y="837"/>
                </a:cubicBezTo>
                <a:cubicBezTo>
                  <a:pt x="1553" y="837"/>
                  <a:pt x="1553" y="837"/>
                  <a:pt x="1553" y="837"/>
                </a:cubicBezTo>
                <a:cubicBezTo>
                  <a:pt x="1554" y="841"/>
                  <a:pt x="1554" y="841"/>
                  <a:pt x="1554" y="841"/>
                </a:cubicBezTo>
                <a:cubicBezTo>
                  <a:pt x="1557" y="844"/>
                  <a:pt x="1557" y="844"/>
                  <a:pt x="1557" y="844"/>
                </a:cubicBezTo>
                <a:cubicBezTo>
                  <a:pt x="1558" y="843"/>
                  <a:pt x="1559" y="842"/>
                  <a:pt x="1558" y="840"/>
                </a:cubicBezTo>
                <a:cubicBezTo>
                  <a:pt x="1562" y="839"/>
                  <a:pt x="1562" y="839"/>
                  <a:pt x="1562" y="839"/>
                </a:cubicBezTo>
                <a:cubicBezTo>
                  <a:pt x="1564" y="842"/>
                  <a:pt x="1564" y="842"/>
                  <a:pt x="1564" y="842"/>
                </a:cubicBezTo>
                <a:cubicBezTo>
                  <a:pt x="1569" y="844"/>
                  <a:pt x="1569" y="844"/>
                  <a:pt x="1569" y="844"/>
                </a:cubicBezTo>
                <a:cubicBezTo>
                  <a:pt x="1573" y="841"/>
                  <a:pt x="1573" y="841"/>
                  <a:pt x="1573" y="841"/>
                </a:cubicBezTo>
                <a:cubicBezTo>
                  <a:pt x="1572" y="839"/>
                  <a:pt x="1572" y="839"/>
                  <a:pt x="1572" y="839"/>
                </a:cubicBezTo>
                <a:cubicBezTo>
                  <a:pt x="1569" y="837"/>
                  <a:pt x="1569" y="837"/>
                  <a:pt x="1569" y="837"/>
                </a:cubicBezTo>
                <a:cubicBezTo>
                  <a:pt x="1567" y="839"/>
                  <a:pt x="1567" y="839"/>
                  <a:pt x="1567" y="839"/>
                </a:cubicBezTo>
                <a:cubicBezTo>
                  <a:pt x="1567" y="836"/>
                  <a:pt x="1567" y="836"/>
                  <a:pt x="1567" y="836"/>
                </a:cubicBezTo>
                <a:cubicBezTo>
                  <a:pt x="1564" y="834"/>
                  <a:pt x="1564" y="834"/>
                  <a:pt x="1564" y="834"/>
                </a:cubicBezTo>
                <a:cubicBezTo>
                  <a:pt x="1562" y="834"/>
                  <a:pt x="1562" y="834"/>
                  <a:pt x="1562" y="834"/>
                </a:cubicBezTo>
                <a:cubicBezTo>
                  <a:pt x="1562" y="831"/>
                  <a:pt x="1562" y="830"/>
                  <a:pt x="1561" y="830"/>
                </a:cubicBezTo>
                <a:cubicBezTo>
                  <a:pt x="1562" y="829"/>
                  <a:pt x="1563" y="829"/>
                  <a:pt x="1563" y="827"/>
                </a:cubicBezTo>
                <a:cubicBezTo>
                  <a:pt x="1563" y="827"/>
                  <a:pt x="1564" y="827"/>
                  <a:pt x="1564" y="827"/>
                </a:cubicBezTo>
                <a:cubicBezTo>
                  <a:pt x="1564" y="827"/>
                  <a:pt x="1565" y="826"/>
                  <a:pt x="1565" y="826"/>
                </a:cubicBezTo>
                <a:cubicBezTo>
                  <a:pt x="1566" y="829"/>
                  <a:pt x="1566" y="829"/>
                  <a:pt x="1566" y="829"/>
                </a:cubicBezTo>
                <a:cubicBezTo>
                  <a:pt x="1567" y="828"/>
                  <a:pt x="1567" y="828"/>
                  <a:pt x="1568" y="828"/>
                </a:cubicBezTo>
                <a:cubicBezTo>
                  <a:pt x="1568" y="828"/>
                  <a:pt x="1568" y="829"/>
                  <a:pt x="1569" y="829"/>
                </a:cubicBezTo>
                <a:cubicBezTo>
                  <a:pt x="1576" y="832"/>
                  <a:pt x="1576" y="832"/>
                  <a:pt x="1576" y="832"/>
                </a:cubicBezTo>
                <a:cubicBezTo>
                  <a:pt x="1575" y="836"/>
                  <a:pt x="1575" y="836"/>
                  <a:pt x="1575" y="836"/>
                </a:cubicBezTo>
                <a:cubicBezTo>
                  <a:pt x="1578" y="838"/>
                  <a:pt x="1578" y="838"/>
                  <a:pt x="1578" y="838"/>
                </a:cubicBezTo>
                <a:cubicBezTo>
                  <a:pt x="1576" y="837"/>
                  <a:pt x="1576" y="837"/>
                  <a:pt x="1576" y="839"/>
                </a:cubicBezTo>
                <a:cubicBezTo>
                  <a:pt x="1578" y="841"/>
                  <a:pt x="1578" y="841"/>
                  <a:pt x="1578" y="841"/>
                </a:cubicBezTo>
                <a:cubicBezTo>
                  <a:pt x="1579" y="844"/>
                  <a:pt x="1579" y="844"/>
                  <a:pt x="1579" y="844"/>
                </a:cubicBezTo>
                <a:cubicBezTo>
                  <a:pt x="1579" y="847"/>
                  <a:pt x="1579" y="847"/>
                  <a:pt x="1579" y="847"/>
                </a:cubicBezTo>
                <a:cubicBezTo>
                  <a:pt x="1582" y="851"/>
                  <a:pt x="1582" y="851"/>
                  <a:pt x="1582" y="851"/>
                </a:cubicBezTo>
                <a:cubicBezTo>
                  <a:pt x="1584" y="851"/>
                  <a:pt x="1584" y="851"/>
                  <a:pt x="1584" y="851"/>
                </a:cubicBezTo>
                <a:cubicBezTo>
                  <a:pt x="1588" y="854"/>
                  <a:pt x="1588" y="854"/>
                  <a:pt x="1588" y="854"/>
                </a:cubicBezTo>
                <a:cubicBezTo>
                  <a:pt x="1589" y="857"/>
                  <a:pt x="1589" y="857"/>
                  <a:pt x="1589" y="857"/>
                </a:cubicBezTo>
                <a:cubicBezTo>
                  <a:pt x="1597" y="861"/>
                  <a:pt x="1597" y="861"/>
                  <a:pt x="1597" y="861"/>
                </a:cubicBezTo>
                <a:cubicBezTo>
                  <a:pt x="1599" y="858"/>
                  <a:pt x="1599" y="858"/>
                  <a:pt x="1599" y="858"/>
                </a:cubicBezTo>
                <a:cubicBezTo>
                  <a:pt x="1604" y="861"/>
                  <a:pt x="1604" y="861"/>
                  <a:pt x="1604" y="861"/>
                </a:cubicBezTo>
                <a:cubicBezTo>
                  <a:pt x="1608" y="861"/>
                  <a:pt x="1608" y="861"/>
                  <a:pt x="1608" y="861"/>
                </a:cubicBezTo>
                <a:cubicBezTo>
                  <a:pt x="1610" y="864"/>
                  <a:pt x="1610" y="864"/>
                  <a:pt x="1610" y="864"/>
                </a:cubicBezTo>
                <a:cubicBezTo>
                  <a:pt x="1612" y="863"/>
                  <a:pt x="1612" y="863"/>
                  <a:pt x="1612" y="863"/>
                </a:cubicBezTo>
                <a:cubicBezTo>
                  <a:pt x="1612" y="860"/>
                  <a:pt x="1612" y="860"/>
                  <a:pt x="1612" y="860"/>
                </a:cubicBezTo>
                <a:cubicBezTo>
                  <a:pt x="1616" y="854"/>
                  <a:pt x="1616" y="854"/>
                  <a:pt x="1616" y="854"/>
                </a:cubicBezTo>
                <a:cubicBezTo>
                  <a:pt x="1613" y="854"/>
                  <a:pt x="1613" y="854"/>
                  <a:pt x="1613" y="854"/>
                </a:cubicBezTo>
                <a:cubicBezTo>
                  <a:pt x="1615" y="851"/>
                  <a:pt x="1615" y="851"/>
                  <a:pt x="1615" y="851"/>
                </a:cubicBezTo>
                <a:cubicBezTo>
                  <a:pt x="1614" y="853"/>
                  <a:pt x="1613" y="853"/>
                  <a:pt x="1613" y="851"/>
                </a:cubicBezTo>
                <a:cubicBezTo>
                  <a:pt x="1613" y="851"/>
                  <a:pt x="1612" y="850"/>
                  <a:pt x="1612" y="850"/>
                </a:cubicBezTo>
                <a:cubicBezTo>
                  <a:pt x="1617" y="849"/>
                  <a:pt x="1617" y="849"/>
                  <a:pt x="1617" y="849"/>
                </a:cubicBezTo>
                <a:cubicBezTo>
                  <a:pt x="1617" y="848"/>
                  <a:pt x="1617" y="848"/>
                  <a:pt x="1617" y="848"/>
                </a:cubicBezTo>
                <a:cubicBezTo>
                  <a:pt x="1616" y="848"/>
                  <a:pt x="1616" y="847"/>
                  <a:pt x="1615" y="847"/>
                </a:cubicBezTo>
                <a:cubicBezTo>
                  <a:pt x="1616" y="844"/>
                  <a:pt x="1616" y="844"/>
                  <a:pt x="1616" y="844"/>
                </a:cubicBezTo>
                <a:cubicBezTo>
                  <a:pt x="1619" y="844"/>
                  <a:pt x="1619" y="844"/>
                  <a:pt x="1619" y="844"/>
                </a:cubicBezTo>
                <a:cubicBezTo>
                  <a:pt x="1620" y="845"/>
                  <a:pt x="1620" y="845"/>
                  <a:pt x="1620" y="845"/>
                </a:cubicBezTo>
                <a:cubicBezTo>
                  <a:pt x="1620" y="849"/>
                  <a:pt x="1620" y="849"/>
                  <a:pt x="1620" y="849"/>
                </a:cubicBezTo>
                <a:cubicBezTo>
                  <a:pt x="1624" y="849"/>
                  <a:pt x="1624" y="849"/>
                  <a:pt x="1624" y="849"/>
                </a:cubicBezTo>
                <a:cubicBezTo>
                  <a:pt x="1628" y="855"/>
                  <a:pt x="1628" y="855"/>
                  <a:pt x="1628" y="855"/>
                </a:cubicBezTo>
                <a:cubicBezTo>
                  <a:pt x="1628" y="859"/>
                  <a:pt x="1628" y="859"/>
                  <a:pt x="1628" y="859"/>
                </a:cubicBezTo>
                <a:cubicBezTo>
                  <a:pt x="1632" y="862"/>
                  <a:pt x="1632" y="862"/>
                  <a:pt x="1632" y="862"/>
                </a:cubicBezTo>
                <a:cubicBezTo>
                  <a:pt x="1633" y="863"/>
                  <a:pt x="1634" y="864"/>
                  <a:pt x="1633" y="865"/>
                </a:cubicBezTo>
                <a:cubicBezTo>
                  <a:pt x="1632" y="865"/>
                  <a:pt x="1632" y="865"/>
                  <a:pt x="1630" y="865"/>
                </a:cubicBezTo>
                <a:cubicBezTo>
                  <a:pt x="1635" y="867"/>
                  <a:pt x="1635" y="867"/>
                  <a:pt x="1635" y="867"/>
                </a:cubicBezTo>
                <a:cubicBezTo>
                  <a:pt x="1632" y="870"/>
                  <a:pt x="1632" y="870"/>
                  <a:pt x="1632" y="870"/>
                </a:cubicBezTo>
                <a:cubicBezTo>
                  <a:pt x="1632" y="879"/>
                  <a:pt x="1632" y="879"/>
                  <a:pt x="1632" y="879"/>
                </a:cubicBezTo>
                <a:cubicBezTo>
                  <a:pt x="1630" y="883"/>
                  <a:pt x="1630" y="883"/>
                  <a:pt x="1630" y="883"/>
                </a:cubicBezTo>
                <a:cubicBezTo>
                  <a:pt x="1631" y="883"/>
                  <a:pt x="1631" y="884"/>
                  <a:pt x="1631" y="884"/>
                </a:cubicBezTo>
                <a:cubicBezTo>
                  <a:pt x="1632" y="885"/>
                  <a:pt x="1632" y="885"/>
                  <a:pt x="1632" y="886"/>
                </a:cubicBezTo>
                <a:cubicBezTo>
                  <a:pt x="1634" y="887"/>
                  <a:pt x="1634" y="887"/>
                  <a:pt x="1634" y="887"/>
                </a:cubicBezTo>
                <a:cubicBezTo>
                  <a:pt x="1630" y="912"/>
                  <a:pt x="1630" y="912"/>
                  <a:pt x="1630" y="912"/>
                </a:cubicBezTo>
                <a:cubicBezTo>
                  <a:pt x="1631" y="914"/>
                  <a:pt x="1631" y="914"/>
                  <a:pt x="1631" y="914"/>
                </a:cubicBezTo>
                <a:cubicBezTo>
                  <a:pt x="1632" y="917"/>
                  <a:pt x="1632" y="917"/>
                  <a:pt x="1632" y="917"/>
                </a:cubicBezTo>
                <a:cubicBezTo>
                  <a:pt x="1637" y="915"/>
                  <a:pt x="1637" y="915"/>
                  <a:pt x="1637" y="915"/>
                </a:cubicBezTo>
                <a:cubicBezTo>
                  <a:pt x="1640" y="915"/>
                  <a:pt x="1640" y="915"/>
                  <a:pt x="1640" y="915"/>
                </a:cubicBezTo>
                <a:cubicBezTo>
                  <a:pt x="1670" y="927"/>
                  <a:pt x="1670" y="927"/>
                  <a:pt x="1670" y="927"/>
                </a:cubicBezTo>
                <a:cubicBezTo>
                  <a:pt x="1677" y="927"/>
                  <a:pt x="1677" y="927"/>
                  <a:pt x="1677" y="927"/>
                </a:cubicBezTo>
                <a:cubicBezTo>
                  <a:pt x="1685" y="926"/>
                  <a:pt x="1685" y="926"/>
                  <a:pt x="1685" y="926"/>
                </a:cubicBezTo>
                <a:cubicBezTo>
                  <a:pt x="1691" y="926"/>
                  <a:pt x="1691" y="926"/>
                  <a:pt x="1691" y="926"/>
                </a:cubicBezTo>
                <a:cubicBezTo>
                  <a:pt x="1692" y="923"/>
                  <a:pt x="1694" y="924"/>
                  <a:pt x="1695" y="927"/>
                </a:cubicBezTo>
                <a:cubicBezTo>
                  <a:pt x="1702" y="925"/>
                  <a:pt x="1702" y="925"/>
                  <a:pt x="1702" y="925"/>
                </a:cubicBezTo>
                <a:cubicBezTo>
                  <a:pt x="1706" y="927"/>
                  <a:pt x="1711" y="928"/>
                  <a:pt x="1716" y="927"/>
                </a:cubicBezTo>
                <a:cubicBezTo>
                  <a:pt x="1718" y="925"/>
                  <a:pt x="1718" y="925"/>
                  <a:pt x="1718" y="925"/>
                </a:cubicBezTo>
                <a:cubicBezTo>
                  <a:pt x="1739" y="923"/>
                  <a:pt x="1739" y="923"/>
                  <a:pt x="1739" y="923"/>
                </a:cubicBezTo>
                <a:cubicBezTo>
                  <a:pt x="1749" y="926"/>
                  <a:pt x="1749" y="926"/>
                  <a:pt x="1749" y="926"/>
                </a:cubicBezTo>
                <a:cubicBezTo>
                  <a:pt x="1752" y="927"/>
                  <a:pt x="1752" y="927"/>
                  <a:pt x="1752" y="927"/>
                </a:cubicBezTo>
                <a:cubicBezTo>
                  <a:pt x="1754" y="927"/>
                  <a:pt x="1754" y="927"/>
                  <a:pt x="1754" y="927"/>
                </a:cubicBezTo>
                <a:cubicBezTo>
                  <a:pt x="1756" y="929"/>
                  <a:pt x="1756" y="929"/>
                  <a:pt x="1756" y="929"/>
                </a:cubicBezTo>
                <a:cubicBezTo>
                  <a:pt x="1758" y="927"/>
                  <a:pt x="1758" y="927"/>
                  <a:pt x="1758" y="927"/>
                </a:cubicBezTo>
                <a:cubicBezTo>
                  <a:pt x="1761" y="927"/>
                  <a:pt x="1761" y="927"/>
                  <a:pt x="1761" y="927"/>
                </a:cubicBezTo>
                <a:cubicBezTo>
                  <a:pt x="1763" y="926"/>
                  <a:pt x="1763" y="926"/>
                  <a:pt x="1763" y="926"/>
                </a:cubicBezTo>
                <a:cubicBezTo>
                  <a:pt x="1763" y="926"/>
                  <a:pt x="1764" y="927"/>
                  <a:pt x="1764" y="927"/>
                </a:cubicBezTo>
                <a:cubicBezTo>
                  <a:pt x="1764" y="927"/>
                  <a:pt x="1764" y="928"/>
                  <a:pt x="1764" y="928"/>
                </a:cubicBezTo>
                <a:cubicBezTo>
                  <a:pt x="1766" y="928"/>
                  <a:pt x="1766" y="928"/>
                  <a:pt x="1766" y="928"/>
                </a:cubicBezTo>
                <a:cubicBezTo>
                  <a:pt x="1766" y="930"/>
                  <a:pt x="1766" y="930"/>
                  <a:pt x="1766" y="930"/>
                </a:cubicBezTo>
                <a:cubicBezTo>
                  <a:pt x="1771" y="929"/>
                  <a:pt x="1771" y="929"/>
                  <a:pt x="1771" y="929"/>
                </a:cubicBezTo>
                <a:cubicBezTo>
                  <a:pt x="1772" y="927"/>
                  <a:pt x="1772" y="927"/>
                  <a:pt x="1772" y="927"/>
                </a:cubicBezTo>
                <a:cubicBezTo>
                  <a:pt x="1774" y="927"/>
                  <a:pt x="1774" y="927"/>
                  <a:pt x="1774" y="927"/>
                </a:cubicBezTo>
                <a:cubicBezTo>
                  <a:pt x="1776" y="926"/>
                  <a:pt x="1776" y="926"/>
                  <a:pt x="1776" y="926"/>
                </a:cubicBezTo>
                <a:cubicBezTo>
                  <a:pt x="1792" y="926"/>
                  <a:pt x="1792" y="926"/>
                  <a:pt x="1792" y="926"/>
                </a:cubicBezTo>
                <a:cubicBezTo>
                  <a:pt x="1795" y="925"/>
                  <a:pt x="1795" y="925"/>
                  <a:pt x="1795" y="925"/>
                </a:cubicBezTo>
                <a:cubicBezTo>
                  <a:pt x="1804" y="927"/>
                  <a:pt x="1804" y="927"/>
                  <a:pt x="1804" y="927"/>
                </a:cubicBezTo>
                <a:cubicBezTo>
                  <a:pt x="1807" y="930"/>
                  <a:pt x="1807" y="930"/>
                  <a:pt x="1807" y="930"/>
                </a:cubicBezTo>
                <a:cubicBezTo>
                  <a:pt x="1810" y="930"/>
                  <a:pt x="1810" y="930"/>
                  <a:pt x="1810" y="930"/>
                </a:cubicBezTo>
                <a:cubicBezTo>
                  <a:pt x="1814" y="933"/>
                  <a:pt x="1814" y="933"/>
                  <a:pt x="1814" y="933"/>
                </a:cubicBezTo>
                <a:cubicBezTo>
                  <a:pt x="1820" y="933"/>
                  <a:pt x="1820" y="933"/>
                  <a:pt x="1820" y="933"/>
                </a:cubicBezTo>
                <a:cubicBezTo>
                  <a:pt x="1820" y="935"/>
                  <a:pt x="1822" y="936"/>
                  <a:pt x="1825" y="937"/>
                </a:cubicBezTo>
                <a:cubicBezTo>
                  <a:pt x="1826" y="941"/>
                  <a:pt x="1826" y="941"/>
                  <a:pt x="1826" y="941"/>
                </a:cubicBezTo>
                <a:cubicBezTo>
                  <a:pt x="1828" y="941"/>
                  <a:pt x="1829" y="941"/>
                  <a:pt x="1828" y="943"/>
                </a:cubicBezTo>
                <a:cubicBezTo>
                  <a:pt x="1831" y="944"/>
                  <a:pt x="1831" y="944"/>
                  <a:pt x="1831" y="944"/>
                </a:cubicBezTo>
                <a:cubicBezTo>
                  <a:pt x="1831" y="950"/>
                  <a:pt x="1831" y="950"/>
                  <a:pt x="1831" y="950"/>
                </a:cubicBezTo>
                <a:cubicBezTo>
                  <a:pt x="1828" y="949"/>
                  <a:pt x="1828" y="949"/>
                  <a:pt x="1828" y="949"/>
                </a:cubicBezTo>
                <a:cubicBezTo>
                  <a:pt x="1827" y="951"/>
                  <a:pt x="1827" y="951"/>
                  <a:pt x="1827" y="951"/>
                </a:cubicBezTo>
                <a:cubicBezTo>
                  <a:pt x="1815" y="951"/>
                  <a:pt x="1815" y="951"/>
                  <a:pt x="1815" y="951"/>
                </a:cubicBezTo>
                <a:cubicBezTo>
                  <a:pt x="1814" y="952"/>
                  <a:pt x="1814" y="952"/>
                  <a:pt x="1814" y="952"/>
                </a:cubicBezTo>
                <a:cubicBezTo>
                  <a:pt x="1815" y="954"/>
                  <a:pt x="1815" y="954"/>
                  <a:pt x="1815" y="954"/>
                </a:cubicBezTo>
                <a:cubicBezTo>
                  <a:pt x="1809" y="973"/>
                  <a:pt x="1809" y="973"/>
                  <a:pt x="1809" y="973"/>
                </a:cubicBezTo>
                <a:cubicBezTo>
                  <a:pt x="1805" y="975"/>
                  <a:pt x="1805" y="975"/>
                  <a:pt x="1805" y="975"/>
                </a:cubicBezTo>
                <a:cubicBezTo>
                  <a:pt x="1804" y="977"/>
                  <a:pt x="1804" y="977"/>
                  <a:pt x="1804" y="977"/>
                </a:cubicBezTo>
                <a:cubicBezTo>
                  <a:pt x="1805" y="984"/>
                  <a:pt x="1805" y="984"/>
                  <a:pt x="1805" y="984"/>
                </a:cubicBezTo>
                <a:cubicBezTo>
                  <a:pt x="1804" y="986"/>
                  <a:pt x="1804" y="986"/>
                  <a:pt x="1804" y="986"/>
                </a:cubicBezTo>
                <a:cubicBezTo>
                  <a:pt x="1802" y="988"/>
                  <a:pt x="1802" y="988"/>
                  <a:pt x="1802" y="988"/>
                </a:cubicBezTo>
                <a:cubicBezTo>
                  <a:pt x="1792" y="987"/>
                  <a:pt x="1792" y="987"/>
                  <a:pt x="1792" y="987"/>
                </a:cubicBezTo>
                <a:cubicBezTo>
                  <a:pt x="1794" y="992"/>
                  <a:pt x="1794" y="992"/>
                  <a:pt x="1794" y="992"/>
                </a:cubicBezTo>
                <a:cubicBezTo>
                  <a:pt x="1792" y="989"/>
                  <a:pt x="1792" y="989"/>
                  <a:pt x="1792" y="989"/>
                </a:cubicBezTo>
                <a:cubicBezTo>
                  <a:pt x="1788" y="991"/>
                  <a:pt x="1788" y="991"/>
                  <a:pt x="1788" y="991"/>
                </a:cubicBezTo>
                <a:cubicBezTo>
                  <a:pt x="1790" y="993"/>
                  <a:pt x="1790" y="993"/>
                  <a:pt x="1790" y="993"/>
                </a:cubicBezTo>
                <a:cubicBezTo>
                  <a:pt x="1786" y="1006"/>
                  <a:pt x="1786" y="1006"/>
                  <a:pt x="1786" y="1006"/>
                </a:cubicBezTo>
                <a:cubicBezTo>
                  <a:pt x="1782" y="1001"/>
                  <a:pt x="1782" y="1001"/>
                  <a:pt x="1782" y="1001"/>
                </a:cubicBezTo>
                <a:cubicBezTo>
                  <a:pt x="1783" y="999"/>
                  <a:pt x="1782" y="999"/>
                  <a:pt x="1780" y="1000"/>
                </a:cubicBezTo>
                <a:cubicBezTo>
                  <a:pt x="1775" y="999"/>
                  <a:pt x="1775" y="999"/>
                  <a:pt x="1775" y="999"/>
                </a:cubicBezTo>
                <a:cubicBezTo>
                  <a:pt x="1776" y="1006"/>
                  <a:pt x="1776" y="1006"/>
                  <a:pt x="1776" y="1006"/>
                </a:cubicBezTo>
                <a:cubicBezTo>
                  <a:pt x="1771" y="1004"/>
                  <a:pt x="1771" y="1004"/>
                  <a:pt x="1771" y="1004"/>
                </a:cubicBezTo>
                <a:cubicBezTo>
                  <a:pt x="1768" y="999"/>
                  <a:pt x="1768" y="999"/>
                  <a:pt x="1768" y="999"/>
                </a:cubicBezTo>
                <a:cubicBezTo>
                  <a:pt x="1767" y="1009"/>
                  <a:pt x="1767" y="1009"/>
                  <a:pt x="1767" y="1009"/>
                </a:cubicBezTo>
                <a:cubicBezTo>
                  <a:pt x="1764" y="1011"/>
                  <a:pt x="1764" y="1011"/>
                  <a:pt x="1764" y="1011"/>
                </a:cubicBezTo>
                <a:cubicBezTo>
                  <a:pt x="1747" y="1009"/>
                  <a:pt x="1747" y="1009"/>
                  <a:pt x="1747" y="1009"/>
                </a:cubicBezTo>
                <a:cubicBezTo>
                  <a:pt x="1748" y="1012"/>
                  <a:pt x="1748" y="1012"/>
                  <a:pt x="1748" y="1012"/>
                </a:cubicBezTo>
                <a:cubicBezTo>
                  <a:pt x="1746" y="1016"/>
                  <a:pt x="1746" y="1016"/>
                  <a:pt x="1746" y="1016"/>
                </a:cubicBezTo>
                <a:cubicBezTo>
                  <a:pt x="1747" y="1019"/>
                  <a:pt x="1747" y="1019"/>
                  <a:pt x="1747" y="1019"/>
                </a:cubicBezTo>
                <a:cubicBezTo>
                  <a:pt x="1741" y="1017"/>
                  <a:pt x="1741" y="1017"/>
                  <a:pt x="1741" y="1017"/>
                </a:cubicBezTo>
                <a:cubicBezTo>
                  <a:pt x="1738" y="1021"/>
                  <a:pt x="1738" y="1021"/>
                  <a:pt x="1738" y="1021"/>
                </a:cubicBezTo>
                <a:cubicBezTo>
                  <a:pt x="1740" y="1022"/>
                  <a:pt x="1739" y="1023"/>
                  <a:pt x="1737" y="1023"/>
                </a:cubicBezTo>
                <a:cubicBezTo>
                  <a:pt x="1736" y="1026"/>
                  <a:pt x="1736" y="1026"/>
                  <a:pt x="1736" y="1026"/>
                </a:cubicBezTo>
                <a:cubicBezTo>
                  <a:pt x="1736" y="1037"/>
                  <a:pt x="1736" y="1037"/>
                  <a:pt x="1736" y="1037"/>
                </a:cubicBezTo>
                <a:cubicBezTo>
                  <a:pt x="1732" y="1036"/>
                  <a:pt x="1732" y="1036"/>
                  <a:pt x="1732" y="1036"/>
                </a:cubicBezTo>
                <a:cubicBezTo>
                  <a:pt x="1731" y="1037"/>
                  <a:pt x="1731" y="1037"/>
                  <a:pt x="1731" y="1037"/>
                </a:cubicBezTo>
                <a:cubicBezTo>
                  <a:pt x="1731" y="1041"/>
                  <a:pt x="1731" y="1041"/>
                  <a:pt x="1731" y="1041"/>
                </a:cubicBezTo>
                <a:cubicBezTo>
                  <a:pt x="1733" y="1040"/>
                  <a:pt x="1734" y="1041"/>
                  <a:pt x="1734" y="1042"/>
                </a:cubicBezTo>
                <a:cubicBezTo>
                  <a:pt x="1733" y="1044"/>
                  <a:pt x="1732" y="1044"/>
                  <a:pt x="1731" y="1042"/>
                </a:cubicBezTo>
                <a:cubicBezTo>
                  <a:pt x="1731" y="1047"/>
                  <a:pt x="1731" y="1047"/>
                  <a:pt x="1731" y="1047"/>
                </a:cubicBezTo>
                <a:cubicBezTo>
                  <a:pt x="1735" y="1054"/>
                  <a:pt x="1735" y="1054"/>
                  <a:pt x="1735" y="1054"/>
                </a:cubicBezTo>
                <a:cubicBezTo>
                  <a:pt x="1737" y="1057"/>
                  <a:pt x="1737" y="1057"/>
                  <a:pt x="1737" y="1057"/>
                </a:cubicBezTo>
                <a:cubicBezTo>
                  <a:pt x="1739" y="1062"/>
                  <a:pt x="1739" y="1062"/>
                  <a:pt x="1739" y="1062"/>
                </a:cubicBezTo>
                <a:cubicBezTo>
                  <a:pt x="1739" y="1064"/>
                  <a:pt x="1739" y="1064"/>
                  <a:pt x="1739" y="1064"/>
                </a:cubicBezTo>
                <a:cubicBezTo>
                  <a:pt x="1741" y="1067"/>
                  <a:pt x="1741" y="1067"/>
                  <a:pt x="1741" y="1067"/>
                </a:cubicBezTo>
                <a:cubicBezTo>
                  <a:pt x="1742" y="1067"/>
                  <a:pt x="1742" y="1067"/>
                  <a:pt x="1742" y="1067"/>
                </a:cubicBezTo>
                <a:cubicBezTo>
                  <a:pt x="1741" y="1069"/>
                  <a:pt x="1741" y="1069"/>
                  <a:pt x="1741" y="1069"/>
                </a:cubicBezTo>
                <a:cubicBezTo>
                  <a:pt x="1742" y="1071"/>
                  <a:pt x="1742" y="1071"/>
                  <a:pt x="1742" y="1071"/>
                </a:cubicBezTo>
                <a:cubicBezTo>
                  <a:pt x="1745" y="1087"/>
                  <a:pt x="1745" y="1087"/>
                  <a:pt x="1745" y="1087"/>
                </a:cubicBezTo>
                <a:cubicBezTo>
                  <a:pt x="1749" y="1089"/>
                  <a:pt x="1749" y="1089"/>
                  <a:pt x="1749" y="1089"/>
                </a:cubicBezTo>
                <a:cubicBezTo>
                  <a:pt x="1748" y="1074"/>
                  <a:pt x="1748" y="1074"/>
                  <a:pt x="1748" y="1074"/>
                </a:cubicBezTo>
                <a:cubicBezTo>
                  <a:pt x="1752" y="1074"/>
                  <a:pt x="1752" y="1074"/>
                  <a:pt x="1752" y="1074"/>
                </a:cubicBezTo>
                <a:cubicBezTo>
                  <a:pt x="1754" y="1077"/>
                  <a:pt x="1754" y="1077"/>
                  <a:pt x="1754" y="1077"/>
                </a:cubicBezTo>
                <a:cubicBezTo>
                  <a:pt x="1754" y="1077"/>
                  <a:pt x="1754" y="1077"/>
                  <a:pt x="1755" y="1077"/>
                </a:cubicBezTo>
                <a:cubicBezTo>
                  <a:pt x="1754" y="1079"/>
                  <a:pt x="1754" y="1079"/>
                  <a:pt x="1754" y="1079"/>
                </a:cubicBezTo>
                <a:cubicBezTo>
                  <a:pt x="1756" y="1080"/>
                  <a:pt x="1756" y="1080"/>
                  <a:pt x="1756" y="1080"/>
                </a:cubicBezTo>
                <a:cubicBezTo>
                  <a:pt x="1757" y="1083"/>
                  <a:pt x="1757" y="1083"/>
                  <a:pt x="1757" y="1083"/>
                </a:cubicBezTo>
                <a:cubicBezTo>
                  <a:pt x="1758" y="1087"/>
                  <a:pt x="1758" y="1087"/>
                  <a:pt x="1758" y="1087"/>
                </a:cubicBezTo>
                <a:cubicBezTo>
                  <a:pt x="1758" y="1090"/>
                  <a:pt x="1758" y="1090"/>
                  <a:pt x="1758" y="1090"/>
                </a:cubicBezTo>
                <a:cubicBezTo>
                  <a:pt x="1760" y="1091"/>
                  <a:pt x="1760" y="1091"/>
                  <a:pt x="1760" y="1091"/>
                </a:cubicBezTo>
                <a:cubicBezTo>
                  <a:pt x="1761" y="1096"/>
                  <a:pt x="1761" y="1096"/>
                  <a:pt x="1761" y="1096"/>
                </a:cubicBezTo>
                <a:cubicBezTo>
                  <a:pt x="1764" y="1097"/>
                  <a:pt x="1764" y="1097"/>
                  <a:pt x="1764" y="1097"/>
                </a:cubicBezTo>
                <a:cubicBezTo>
                  <a:pt x="1765" y="1099"/>
                  <a:pt x="1765" y="1099"/>
                  <a:pt x="1765" y="1099"/>
                </a:cubicBezTo>
                <a:cubicBezTo>
                  <a:pt x="1766" y="1097"/>
                  <a:pt x="1766" y="1097"/>
                  <a:pt x="1766" y="1097"/>
                </a:cubicBezTo>
                <a:cubicBezTo>
                  <a:pt x="1773" y="1095"/>
                  <a:pt x="1773" y="1095"/>
                  <a:pt x="1773" y="1095"/>
                </a:cubicBezTo>
                <a:cubicBezTo>
                  <a:pt x="1778" y="1092"/>
                  <a:pt x="1778" y="1092"/>
                  <a:pt x="1778" y="1092"/>
                </a:cubicBezTo>
                <a:cubicBezTo>
                  <a:pt x="1777" y="1089"/>
                  <a:pt x="1777" y="1089"/>
                  <a:pt x="1777" y="1089"/>
                </a:cubicBezTo>
                <a:cubicBezTo>
                  <a:pt x="1778" y="1089"/>
                  <a:pt x="1778" y="1089"/>
                  <a:pt x="1778" y="1089"/>
                </a:cubicBezTo>
                <a:cubicBezTo>
                  <a:pt x="1778" y="1089"/>
                  <a:pt x="1778" y="1089"/>
                  <a:pt x="1778" y="1089"/>
                </a:cubicBezTo>
                <a:cubicBezTo>
                  <a:pt x="1782" y="1087"/>
                  <a:pt x="1782" y="1087"/>
                  <a:pt x="1782" y="1087"/>
                </a:cubicBezTo>
                <a:cubicBezTo>
                  <a:pt x="1781" y="1087"/>
                  <a:pt x="1781" y="1087"/>
                  <a:pt x="1780" y="1087"/>
                </a:cubicBezTo>
                <a:cubicBezTo>
                  <a:pt x="1780" y="1086"/>
                  <a:pt x="1780" y="1086"/>
                  <a:pt x="1780" y="1086"/>
                </a:cubicBezTo>
                <a:cubicBezTo>
                  <a:pt x="1777" y="1071"/>
                  <a:pt x="1777" y="1071"/>
                  <a:pt x="1777" y="1071"/>
                </a:cubicBezTo>
                <a:cubicBezTo>
                  <a:pt x="1779" y="1067"/>
                  <a:pt x="1779" y="1067"/>
                  <a:pt x="1779" y="1067"/>
                </a:cubicBezTo>
                <a:cubicBezTo>
                  <a:pt x="1782" y="1066"/>
                  <a:pt x="1782" y="1066"/>
                  <a:pt x="1782" y="1066"/>
                </a:cubicBezTo>
                <a:cubicBezTo>
                  <a:pt x="1782" y="1063"/>
                  <a:pt x="1782" y="1063"/>
                  <a:pt x="1782" y="1063"/>
                </a:cubicBezTo>
                <a:cubicBezTo>
                  <a:pt x="1788" y="1060"/>
                  <a:pt x="1788" y="1060"/>
                  <a:pt x="1788" y="1060"/>
                </a:cubicBezTo>
                <a:cubicBezTo>
                  <a:pt x="1789" y="1061"/>
                  <a:pt x="1790" y="1061"/>
                  <a:pt x="1790" y="1058"/>
                </a:cubicBezTo>
                <a:cubicBezTo>
                  <a:pt x="1792" y="1057"/>
                  <a:pt x="1792" y="1057"/>
                  <a:pt x="1792" y="1057"/>
                </a:cubicBezTo>
                <a:cubicBezTo>
                  <a:pt x="1790" y="1038"/>
                  <a:pt x="1790" y="1038"/>
                  <a:pt x="1790" y="1038"/>
                </a:cubicBezTo>
                <a:cubicBezTo>
                  <a:pt x="1793" y="1038"/>
                  <a:pt x="1793" y="1038"/>
                  <a:pt x="1793" y="1038"/>
                </a:cubicBezTo>
                <a:cubicBezTo>
                  <a:pt x="1796" y="1044"/>
                  <a:pt x="1796" y="1044"/>
                  <a:pt x="1796" y="1044"/>
                </a:cubicBezTo>
                <a:cubicBezTo>
                  <a:pt x="1800" y="1044"/>
                  <a:pt x="1800" y="1044"/>
                  <a:pt x="1800" y="1044"/>
                </a:cubicBezTo>
                <a:cubicBezTo>
                  <a:pt x="1801" y="1041"/>
                  <a:pt x="1801" y="1041"/>
                  <a:pt x="1801" y="1041"/>
                </a:cubicBezTo>
                <a:cubicBezTo>
                  <a:pt x="1806" y="1037"/>
                  <a:pt x="1806" y="1037"/>
                  <a:pt x="1806" y="1037"/>
                </a:cubicBezTo>
                <a:cubicBezTo>
                  <a:pt x="1810" y="1040"/>
                  <a:pt x="1810" y="1040"/>
                  <a:pt x="1810" y="1040"/>
                </a:cubicBezTo>
                <a:cubicBezTo>
                  <a:pt x="1811" y="1043"/>
                  <a:pt x="1811" y="1043"/>
                  <a:pt x="1811" y="1043"/>
                </a:cubicBezTo>
                <a:cubicBezTo>
                  <a:pt x="1813" y="1038"/>
                  <a:pt x="1813" y="1038"/>
                  <a:pt x="1813" y="1038"/>
                </a:cubicBezTo>
                <a:cubicBezTo>
                  <a:pt x="1816" y="1040"/>
                  <a:pt x="1816" y="1040"/>
                  <a:pt x="1816" y="1040"/>
                </a:cubicBezTo>
                <a:cubicBezTo>
                  <a:pt x="1814" y="1046"/>
                  <a:pt x="1814" y="1046"/>
                  <a:pt x="1814" y="1046"/>
                </a:cubicBezTo>
                <a:cubicBezTo>
                  <a:pt x="1816" y="1045"/>
                  <a:pt x="1816" y="1046"/>
                  <a:pt x="1815" y="1048"/>
                </a:cubicBezTo>
                <a:cubicBezTo>
                  <a:pt x="1817" y="1049"/>
                  <a:pt x="1817" y="1049"/>
                  <a:pt x="1817" y="1049"/>
                </a:cubicBezTo>
                <a:cubicBezTo>
                  <a:pt x="1819" y="1061"/>
                  <a:pt x="1819" y="1061"/>
                  <a:pt x="1819" y="1061"/>
                </a:cubicBezTo>
                <a:cubicBezTo>
                  <a:pt x="1819" y="1061"/>
                  <a:pt x="1819" y="1061"/>
                  <a:pt x="1819" y="1061"/>
                </a:cubicBezTo>
                <a:cubicBezTo>
                  <a:pt x="1820" y="1061"/>
                  <a:pt x="1820" y="1062"/>
                  <a:pt x="1820" y="1062"/>
                </a:cubicBezTo>
                <a:cubicBezTo>
                  <a:pt x="1822" y="1069"/>
                  <a:pt x="1822" y="1069"/>
                  <a:pt x="1822" y="1069"/>
                </a:cubicBezTo>
                <a:cubicBezTo>
                  <a:pt x="1823" y="1072"/>
                  <a:pt x="1823" y="1072"/>
                  <a:pt x="1823" y="1072"/>
                </a:cubicBezTo>
                <a:cubicBezTo>
                  <a:pt x="1822" y="1075"/>
                  <a:pt x="1822" y="1075"/>
                  <a:pt x="1822" y="1075"/>
                </a:cubicBezTo>
                <a:cubicBezTo>
                  <a:pt x="1821" y="1086"/>
                  <a:pt x="1821" y="1086"/>
                  <a:pt x="1821" y="1086"/>
                </a:cubicBezTo>
                <a:cubicBezTo>
                  <a:pt x="1823" y="1088"/>
                  <a:pt x="1823" y="1088"/>
                  <a:pt x="1823" y="1088"/>
                </a:cubicBezTo>
                <a:cubicBezTo>
                  <a:pt x="1822" y="1099"/>
                  <a:pt x="1822" y="1099"/>
                  <a:pt x="1822" y="1099"/>
                </a:cubicBezTo>
                <a:cubicBezTo>
                  <a:pt x="1828" y="1104"/>
                  <a:pt x="1828" y="1104"/>
                  <a:pt x="1828" y="1104"/>
                </a:cubicBezTo>
                <a:cubicBezTo>
                  <a:pt x="1828" y="1107"/>
                  <a:pt x="1828" y="1107"/>
                  <a:pt x="1828" y="1107"/>
                </a:cubicBezTo>
                <a:cubicBezTo>
                  <a:pt x="1834" y="1123"/>
                  <a:pt x="1834" y="1123"/>
                  <a:pt x="1834" y="1123"/>
                </a:cubicBezTo>
                <a:cubicBezTo>
                  <a:pt x="1834" y="1125"/>
                  <a:pt x="1834" y="1125"/>
                  <a:pt x="1834" y="1125"/>
                </a:cubicBezTo>
                <a:cubicBezTo>
                  <a:pt x="1834" y="1127"/>
                  <a:pt x="1834" y="1127"/>
                  <a:pt x="1834" y="1127"/>
                </a:cubicBezTo>
                <a:cubicBezTo>
                  <a:pt x="1835" y="1131"/>
                  <a:pt x="1835" y="1131"/>
                  <a:pt x="1835" y="1131"/>
                </a:cubicBezTo>
                <a:cubicBezTo>
                  <a:pt x="1838" y="1147"/>
                  <a:pt x="1838" y="1147"/>
                  <a:pt x="1838" y="1147"/>
                </a:cubicBezTo>
                <a:cubicBezTo>
                  <a:pt x="1838" y="1150"/>
                  <a:pt x="1838" y="1150"/>
                  <a:pt x="1838" y="1150"/>
                </a:cubicBezTo>
                <a:cubicBezTo>
                  <a:pt x="1839" y="1152"/>
                  <a:pt x="1839" y="1152"/>
                  <a:pt x="1839" y="1152"/>
                </a:cubicBezTo>
                <a:cubicBezTo>
                  <a:pt x="1840" y="1159"/>
                  <a:pt x="1840" y="1159"/>
                  <a:pt x="1840" y="1159"/>
                </a:cubicBezTo>
                <a:cubicBezTo>
                  <a:pt x="1839" y="1162"/>
                  <a:pt x="1839" y="1162"/>
                  <a:pt x="1839" y="1162"/>
                </a:cubicBezTo>
                <a:cubicBezTo>
                  <a:pt x="1838" y="1160"/>
                  <a:pt x="1837" y="1161"/>
                  <a:pt x="1837" y="1163"/>
                </a:cubicBezTo>
                <a:cubicBezTo>
                  <a:pt x="1840" y="1170"/>
                  <a:pt x="1840" y="1170"/>
                  <a:pt x="1840" y="1170"/>
                </a:cubicBezTo>
                <a:cubicBezTo>
                  <a:pt x="1840" y="1173"/>
                  <a:pt x="1840" y="1173"/>
                  <a:pt x="1840" y="1173"/>
                </a:cubicBezTo>
                <a:cubicBezTo>
                  <a:pt x="1842" y="1171"/>
                  <a:pt x="1842" y="1171"/>
                  <a:pt x="1842" y="1171"/>
                </a:cubicBezTo>
                <a:cubicBezTo>
                  <a:pt x="1845" y="1171"/>
                  <a:pt x="1845" y="1171"/>
                  <a:pt x="1845" y="1171"/>
                </a:cubicBezTo>
                <a:cubicBezTo>
                  <a:pt x="1846" y="1161"/>
                  <a:pt x="1846" y="1161"/>
                  <a:pt x="1846" y="1161"/>
                </a:cubicBezTo>
                <a:cubicBezTo>
                  <a:pt x="1847" y="1161"/>
                  <a:pt x="1848" y="1160"/>
                  <a:pt x="1849" y="1160"/>
                </a:cubicBezTo>
                <a:cubicBezTo>
                  <a:pt x="1858" y="1167"/>
                  <a:pt x="1858" y="1167"/>
                  <a:pt x="1858" y="1167"/>
                </a:cubicBezTo>
                <a:cubicBezTo>
                  <a:pt x="1860" y="1167"/>
                  <a:pt x="1860" y="1167"/>
                  <a:pt x="1860" y="1167"/>
                </a:cubicBezTo>
                <a:cubicBezTo>
                  <a:pt x="1860" y="1169"/>
                  <a:pt x="1860" y="1169"/>
                  <a:pt x="1860" y="1169"/>
                </a:cubicBezTo>
                <a:cubicBezTo>
                  <a:pt x="1861" y="1171"/>
                  <a:pt x="1861" y="1171"/>
                  <a:pt x="1861" y="1171"/>
                </a:cubicBezTo>
                <a:cubicBezTo>
                  <a:pt x="1862" y="1175"/>
                  <a:pt x="1862" y="1175"/>
                  <a:pt x="1862" y="1175"/>
                </a:cubicBezTo>
                <a:cubicBezTo>
                  <a:pt x="1865" y="1169"/>
                  <a:pt x="1865" y="1169"/>
                  <a:pt x="1865" y="1169"/>
                </a:cubicBezTo>
                <a:cubicBezTo>
                  <a:pt x="1868" y="1173"/>
                  <a:pt x="1868" y="1173"/>
                  <a:pt x="1868" y="1173"/>
                </a:cubicBezTo>
                <a:cubicBezTo>
                  <a:pt x="1869" y="1167"/>
                  <a:pt x="1869" y="1167"/>
                  <a:pt x="1869" y="1167"/>
                </a:cubicBezTo>
                <a:cubicBezTo>
                  <a:pt x="1870" y="1163"/>
                  <a:pt x="1870" y="1163"/>
                  <a:pt x="1870" y="1163"/>
                </a:cubicBezTo>
                <a:cubicBezTo>
                  <a:pt x="1874" y="1163"/>
                  <a:pt x="1874" y="1163"/>
                  <a:pt x="1874" y="1163"/>
                </a:cubicBezTo>
                <a:cubicBezTo>
                  <a:pt x="1872" y="1160"/>
                  <a:pt x="1872" y="1160"/>
                  <a:pt x="1872" y="1160"/>
                </a:cubicBezTo>
                <a:cubicBezTo>
                  <a:pt x="1873" y="1156"/>
                  <a:pt x="1873" y="1156"/>
                  <a:pt x="1873" y="1156"/>
                </a:cubicBezTo>
                <a:cubicBezTo>
                  <a:pt x="1878" y="1155"/>
                  <a:pt x="1878" y="1155"/>
                  <a:pt x="1878" y="1155"/>
                </a:cubicBezTo>
                <a:cubicBezTo>
                  <a:pt x="1879" y="1157"/>
                  <a:pt x="1879" y="1157"/>
                  <a:pt x="1879" y="1157"/>
                </a:cubicBezTo>
                <a:cubicBezTo>
                  <a:pt x="1882" y="1157"/>
                  <a:pt x="1882" y="1157"/>
                  <a:pt x="1882" y="1157"/>
                </a:cubicBezTo>
                <a:cubicBezTo>
                  <a:pt x="1880" y="1154"/>
                  <a:pt x="1880" y="1154"/>
                  <a:pt x="1880" y="1154"/>
                </a:cubicBezTo>
                <a:cubicBezTo>
                  <a:pt x="1884" y="1152"/>
                  <a:pt x="1884" y="1152"/>
                  <a:pt x="1884" y="1152"/>
                </a:cubicBezTo>
                <a:cubicBezTo>
                  <a:pt x="1882" y="1137"/>
                  <a:pt x="1882" y="1137"/>
                  <a:pt x="1882" y="1137"/>
                </a:cubicBezTo>
                <a:cubicBezTo>
                  <a:pt x="1880" y="1137"/>
                  <a:pt x="1880" y="1137"/>
                  <a:pt x="1880" y="1137"/>
                </a:cubicBezTo>
                <a:cubicBezTo>
                  <a:pt x="1878" y="1130"/>
                  <a:pt x="1878" y="1130"/>
                  <a:pt x="1878" y="1130"/>
                </a:cubicBezTo>
                <a:cubicBezTo>
                  <a:pt x="1880" y="1126"/>
                  <a:pt x="1880" y="1126"/>
                  <a:pt x="1880" y="1126"/>
                </a:cubicBezTo>
                <a:cubicBezTo>
                  <a:pt x="1877" y="1120"/>
                  <a:pt x="1877" y="1120"/>
                  <a:pt x="1877" y="1120"/>
                </a:cubicBezTo>
                <a:cubicBezTo>
                  <a:pt x="1877" y="1111"/>
                  <a:pt x="1877" y="1111"/>
                  <a:pt x="1877" y="1111"/>
                </a:cubicBezTo>
                <a:cubicBezTo>
                  <a:pt x="1879" y="1104"/>
                  <a:pt x="1879" y="1104"/>
                  <a:pt x="1879" y="1104"/>
                </a:cubicBezTo>
                <a:cubicBezTo>
                  <a:pt x="1881" y="1104"/>
                  <a:pt x="1881" y="1103"/>
                  <a:pt x="1880" y="1101"/>
                </a:cubicBezTo>
                <a:cubicBezTo>
                  <a:pt x="1880" y="1101"/>
                  <a:pt x="1880" y="1101"/>
                  <a:pt x="1880" y="1101"/>
                </a:cubicBezTo>
                <a:cubicBezTo>
                  <a:pt x="1882" y="1102"/>
                  <a:pt x="1882" y="1101"/>
                  <a:pt x="1880" y="1099"/>
                </a:cubicBezTo>
                <a:cubicBezTo>
                  <a:pt x="1880" y="1096"/>
                  <a:pt x="1880" y="1096"/>
                  <a:pt x="1880" y="1096"/>
                </a:cubicBezTo>
                <a:cubicBezTo>
                  <a:pt x="1879" y="1095"/>
                  <a:pt x="1879" y="1095"/>
                  <a:pt x="1879" y="1095"/>
                </a:cubicBezTo>
                <a:cubicBezTo>
                  <a:pt x="1880" y="1090"/>
                  <a:pt x="1880" y="1090"/>
                  <a:pt x="1880" y="1090"/>
                </a:cubicBezTo>
                <a:cubicBezTo>
                  <a:pt x="1881" y="1090"/>
                  <a:pt x="1881" y="1091"/>
                  <a:pt x="1882" y="1090"/>
                </a:cubicBezTo>
                <a:cubicBezTo>
                  <a:pt x="1882" y="1090"/>
                  <a:pt x="1883" y="1090"/>
                  <a:pt x="1883" y="1089"/>
                </a:cubicBezTo>
                <a:cubicBezTo>
                  <a:pt x="1886" y="1090"/>
                  <a:pt x="1886" y="1090"/>
                  <a:pt x="1886" y="1090"/>
                </a:cubicBezTo>
                <a:cubicBezTo>
                  <a:pt x="1887" y="1093"/>
                  <a:pt x="1887" y="1093"/>
                  <a:pt x="1887" y="1093"/>
                </a:cubicBezTo>
                <a:cubicBezTo>
                  <a:pt x="1891" y="1094"/>
                  <a:pt x="1891" y="1094"/>
                  <a:pt x="1891" y="1094"/>
                </a:cubicBezTo>
                <a:cubicBezTo>
                  <a:pt x="1896" y="1088"/>
                  <a:pt x="1896" y="1088"/>
                  <a:pt x="1896" y="1088"/>
                </a:cubicBezTo>
                <a:cubicBezTo>
                  <a:pt x="1896" y="1085"/>
                  <a:pt x="1896" y="1085"/>
                  <a:pt x="1896" y="1085"/>
                </a:cubicBezTo>
                <a:cubicBezTo>
                  <a:pt x="1898" y="1084"/>
                  <a:pt x="1898" y="1084"/>
                  <a:pt x="1898" y="1084"/>
                </a:cubicBezTo>
                <a:cubicBezTo>
                  <a:pt x="1899" y="1084"/>
                  <a:pt x="1899" y="1084"/>
                  <a:pt x="1899" y="1084"/>
                </a:cubicBezTo>
                <a:cubicBezTo>
                  <a:pt x="1898" y="1083"/>
                  <a:pt x="1898" y="1083"/>
                  <a:pt x="1898" y="1083"/>
                </a:cubicBezTo>
                <a:cubicBezTo>
                  <a:pt x="1896" y="1067"/>
                  <a:pt x="1896" y="1067"/>
                  <a:pt x="1896" y="1067"/>
                </a:cubicBezTo>
                <a:cubicBezTo>
                  <a:pt x="1899" y="1066"/>
                  <a:pt x="1899" y="1066"/>
                  <a:pt x="1899" y="1066"/>
                </a:cubicBezTo>
                <a:cubicBezTo>
                  <a:pt x="1900" y="1064"/>
                  <a:pt x="1900" y="1064"/>
                  <a:pt x="1900" y="1064"/>
                </a:cubicBezTo>
                <a:cubicBezTo>
                  <a:pt x="1900" y="1059"/>
                  <a:pt x="1900" y="1059"/>
                  <a:pt x="1900" y="1059"/>
                </a:cubicBezTo>
                <a:cubicBezTo>
                  <a:pt x="1899" y="1057"/>
                  <a:pt x="1899" y="1057"/>
                  <a:pt x="1899" y="1057"/>
                </a:cubicBezTo>
                <a:cubicBezTo>
                  <a:pt x="1901" y="1043"/>
                  <a:pt x="1901" y="1043"/>
                  <a:pt x="1901" y="1043"/>
                </a:cubicBezTo>
                <a:cubicBezTo>
                  <a:pt x="1903" y="1041"/>
                  <a:pt x="1903" y="1041"/>
                  <a:pt x="1903" y="1041"/>
                </a:cubicBezTo>
                <a:cubicBezTo>
                  <a:pt x="1900" y="1039"/>
                  <a:pt x="1900" y="1039"/>
                  <a:pt x="1900" y="1039"/>
                </a:cubicBezTo>
                <a:cubicBezTo>
                  <a:pt x="1898" y="1022"/>
                  <a:pt x="1898" y="1022"/>
                  <a:pt x="1898" y="1022"/>
                </a:cubicBezTo>
                <a:cubicBezTo>
                  <a:pt x="1895" y="1019"/>
                  <a:pt x="1895" y="1019"/>
                  <a:pt x="1895" y="1019"/>
                </a:cubicBezTo>
                <a:cubicBezTo>
                  <a:pt x="1894" y="1016"/>
                  <a:pt x="1894" y="1016"/>
                  <a:pt x="1894" y="1016"/>
                </a:cubicBezTo>
                <a:cubicBezTo>
                  <a:pt x="1895" y="1011"/>
                  <a:pt x="1895" y="1011"/>
                  <a:pt x="1895" y="1011"/>
                </a:cubicBezTo>
                <a:cubicBezTo>
                  <a:pt x="1900" y="1011"/>
                  <a:pt x="1900" y="1011"/>
                  <a:pt x="1900" y="1011"/>
                </a:cubicBezTo>
                <a:cubicBezTo>
                  <a:pt x="1905" y="1017"/>
                  <a:pt x="1905" y="1017"/>
                  <a:pt x="1905" y="1017"/>
                </a:cubicBezTo>
                <a:cubicBezTo>
                  <a:pt x="1906" y="1019"/>
                  <a:pt x="1906" y="1019"/>
                  <a:pt x="1906" y="1019"/>
                </a:cubicBezTo>
                <a:cubicBezTo>
                  <a:pt x="1911" y="1020"/>
                  <a:pt x="1911" y="1020"/>
                  <a:pt x="1911" y="1020"/>
                </a:cubicBezTo>
                <a:cubicBezTo>
                  <a:pt x="1912" y="1018"/>
                  <a:pt x="1912" y="1018"/>
                  <a:pt x="1912" y="1018"/>
                </a:cubicBezTo>
                <a:cubicBezTo>
                  <a:pt x="1915" y="1019"/>
                  <a:pt x="1915" y="1019"/>
                  <a:pt x="1915" y="1019"/>
                </a:cubicBezTo>
                <a:cubicBezTo>
                  <a:pt x="1916" y="1017"/>
                  <a:pt x="1916" y="1017"/>
                  <a:pt x="1916" y="1017"/>
                </a:cubicBezTo>
                <a:cubicBezTo>
                  <a:pt x="1927" y="1017"/>
                  <a:pt x="1927" y="1017"/>
                  <a:pt x="1927" y="1017"/>
                </a:cubicBezTo>
                <a:cubicBezTo>
                  <a:pt x="1930" y="1022"/>
                  <a:pt x="1930" y="1022"/>
                  <a:pt x="1930" y="1022"/>
                </a:cubicBezTo>
                <a:cubicBezTo>
                  <a:pt x="1938" y="1020"/>
                  <a:pt x="1938" y="1020"/>
                  <a:pt x="1938" y="1020"/>
                </a:cubicBezTo>
                <a:cubicBezTo>
                  <a:pt x="1941" y="1021"/>
                  <a:pt x="1941" y="1021"/>
                  <a:pt x="1941" y="1021"/>
                </a:cubicBezTo>
                <a:cubicBezTo>
                  <a:pt x="1942" y="1022"/>
                  <a:pt x="1942" y="1022"/>
                  <a:pt x="1942" y="1022"/>
                </a:cubicBezTo>
                <a:cubicBezTo>
                  <a:pt x="1948" y="1023"/>
                  <a:pt x="1948" y="1023"/>
                  <a:pt x="1948" y="1023"/>
                </a:cubicBezTo>
                <a:cubicBezTo>
                  <a:pt x="1948" y="1025"/>
                  <a:pt x="1948" y="1025"/>
                  <a:pt x="1948" y="1025"/>
                </a:cubicBezTo>
                <a:cubicBezTo>
                  <a:pt x="1952" y="1025"/>
                  <a:pt x="1952" y="1025"/>
                  <a:pt x="1952" y="1025"/>
                </a:cubicBezTo>
                <a:cubicBezTo>
                  <a:pt x="1956" y="1029"/>
                  <a:pt x="1956" y="1029"/>
                  <a:pt x="1956" y="1029"/>
                </a:cubicBezTo>
                <a:cubicBezTo>
                  <a:pt x="1958" y="1021"/>
                  <a:pt x="1958" y="1021"/>
                  <a:pt x="1958" y="1021"/>
                </a:cubicBezTo>
                <a:cubicBezTo>
                  <a:pt x="1962" y="1015"/>
                  <a:pt x="1962" y="1015"/>
                  <a:pt x="1962" y="1015"/>
                </a:cubicBezTo>
                <a:cubicBezTo>
                  <a:pt x="1962" y="1012"/>
                  <a:pt x="1962" y="1012"/>
                  <a:pt x="1962" y="1012"/>
                </a:cubicBezTo>
                <a:cubicBezTo>
                  <a:pt x="1962" y="1012"/>
                  <a:pt x="1963" y="1012"/>
                  <a:pt x="1963" y="1012"/>
                </a:cubicBezTo>
                <a:cubicBezTo>
                  <a:pt x="1964" y="1012"/>
                  <a:pt x="1964" y="1011"/>
                  <a:pt x="1964" y="1011"/>
                </a:cubicBezTo>
                <a:cubicBezTo>
                  <a:pt x="1965" y="1003"/>
                  <a:pt x="1965" y="1003"/>
                  <a:pt x="1965" y="1003"/>
                </a:cubicBezTo>
                <a:cubicBezTo>
                  <a:pt x="1968" y="996"/>
                  <a:pt x="1968" y="996"/>
                  <a:pt x="1968" y="996"/>
                </a:cubicBezTo>
                <a:cubicBezTo>
                  <a:pt x="1968" y="993"/>
                  <a:pt x="1968" y="993"/>
                  <a:pt x="1968" y="993"/>
                </a:cubicBezTo>
                <a:cubicBezTo>
                  <a:pt x="1978" y="973"/>
                  <a:pt x="1978" y="973"/>
                  <a:pt x="1978" y="973"/>
                </a:cubicBezTo>
                <a:cubicBezTo>
                  <a:pt x="1983" y="971"/>
                  <a:pt x="1986" y="968"/>
                  <a:pt x="1986" y="963"/>
                </a:cubicBezTo>
                <a:cubicBezTo>
                  <a:pt x="1990" y="962"/>
                  <a:pt x="1990" y="962"/>
                  <a:pt x="1990" y="962"/>
                </a:cubicBezTo>
                <a:cubicBezTo>
                  <a:pt x="1994" y="951"/>
                  <a:pt x="1994" y="951"/>
                  <a:pt x="1994" y="951"/>
                </a:cubicBezTo>
                <a:cubicBezTo>
                  <a:pt x="1996" y="949"/>
                  <a:pt x="1996" y="949"/>
                  <a:pt x="1996" y="949"/>
                </a:cubicBezTo>
                <a:cubicBezTo>
                  <a:pt x="1998" y="945"/>
                  <a:pt x="1998" y="945"/>
                  <a:pt x="1998" y="945"/>
                </a:cubicBezTo>
                <a:cubicBezTo>
                  <a:pt x="1997" y="943"/>
                  <a:pt x="1997" y="943"/>
                  <a:pt x="1997" y="943"/>
                </a:cubicBezTo>
                <a:cubicBezTo>
                  <a:pt x="2001" y="937"/>
                  <a:pt x="2001" y="937"/>
                  <a:pt x="2001" y="937"/>
                </a:cubicBezTo>
                <a:cubicBezTo>
                  <a:pt x="2000" y="929"/>
                  <a:pt x="2000" y="929"/>
                  <a:pt x="2000" y="929"/>
                </a:cubicBezTo>
                <a:cubicBezTo>
                  <a:pt x="1990" y="925"/>
                  <a:pt x="1990" y="925"/>
                  <a:pt x="1990" y="925"/>
                </a:cubicBezTo>
                <a:cubicBezTo>
                  <a:pt x="1992" y="909"/>
                  <a:pt x="1992" y="909"/>
                  <a:pt x="1992" y="909"/>
                </a:cubicBezTo>
                <a:cubicBezTo>
                  <a:pt x="1996" y="904"/>
                  <a:pt x="1996" y="904"/>
                  <a:pt x="1996" y="904"/>
                </a:cubicBezTo>
                <a:cubicBezTo>
                  <a:pt x="2001" y="901"/>
                  <a:pt x="2001" y="901"/>
                  <a:pt x="2001" y="901"/>
                </a:cubicBezTo>
                <a:cubicBezTo>
                  <a:pt x="2003" y="902"/>
                  <a:pt x="2003" y="902"/>
                  <a:pt x="2003" y="902"/>
                </a:cubicBezTo>
                <a:cubicBezTo>
                  <a:pt x="2008" y="896"/>
                  <a:pt x="2008" y="896"/>
                  <a:pt x="2008" y="896"/>
                </a:cubicBezTo>
                <a:cubicBezTo>
                  <a:pt x="2012" y="895"/>
                  <a:pt x="2012" y="895"/>
                  <a:pt x="2012" y="895"/>
                </a:cubicBezTo>
                <a:cubicBezTo>
                  <a:pt x="2018" y="884"/>
                  <a:pt x="2018" y="884"/>
                  <a:pt x="2018" y="884"/>
                </a:cubicBezTo>
                <a:cubicBezTo>
                  <a:pt x="2022" y="882"/>
                  <a:pt x="2022" y="882"/>
                  <a:pt x="2022" y="882"/>
                </a:cubicBezTo>
                <a:cubicBezTo>
                  <a:pt x="2022" y="867"/>
                  <a:pt x="2022" y="867"/>
                  <a:pt x="2022" y="867"/>
                </a:cubicBezTo>
                <a:cubicBezTo>
                  <a:pt x="2028" y="866"/>
                  <a:pt x="2032" y="862"/>
                  <a:pt x="2034" y="856"/>
                </a:cubicBezTo>
                <a:cubicBezTo>
                  <a:pt x="2031" y="855"/>
                  <a:pt x="2031" y="855"/>
                  <a:pt x="2031" y="855"/>
                </a:cubicBezTo>
                <a:cubicBezTo>
                  <a:pt x="2029" y="853"/>
                  <a:pt x="2029" y="853"/>
                  <a:pt x="2029" y="853"/>
                </a:cubicBezTo>
                <a:cubicBezTo>
                  <a:pt x="2030" y="847"/>
                  <a:pt x="2030" y="847"/>
                  <a:pt x="2030" y="847"/>
                </a:cubicBezTo>
                <a:cubicBezTo>
                  <a:pt x="2027" y="844"/>
                  <a:pt x="2027" y="844"/>
                  <a:pt x="2027" y="844"/>
                </a:cubicBezTo>
                <a:cubicBezTo>
                  <a:pt x="2025" y="838"/>
                  <a:pt x="2025" y="838"/>
                  <a:pt x="2025" y="838"/>
                </a:cubicBezTo>
                <a:cubicBezTo>
                  <a:pt x="2027" y="830"/>
                  <a:pt x="2027" y="830"/>
                  <a:pt x="2027" y="830"/>
                </a:cubicBezTo>
                <a:cubicBezTo>
                  <a:pt x="2025" y="825"/>
                  <a:pt x="2025" y="825"/>
                  <a:pt x="2025" y="825"/>
                </a:cubicBezTo>
                <a:cubicBezTo>
                  <a:pt x="2028" y="823"/>
                  <a:pt x="2028" y="823"/>
                  <a:pt x="2028" y="823"/>
                </a:cubicBezTo>
                <a:cubicBezTo>
                  <a:pt x="2029" y="819"/>
                  <a:pt x="2029" y="819"/>
                  <a:pt x="2029" y="819"/>
                </a:cubicBezTo>
                <a:cubicBezTo>
                  <a:pt x="2032" y="816"/>
                  <a:pt x="2032" y="816"/>
                  <a:pt x="2032" y="816"/>
                </a:cubicBezTo>
                <a:cubicBezTo>
                  <a:pt x="2030" y="813"/>
                  <a:pt x="2032" y="812"/>
                  <a:pt x="2035" y="812"/>
                </a:cubicBezTo>
                <a:cubicBezTo>
                  <a:pt x="2037" y="808"/>
                  <a:pt x="2038" y="808"/>
                  <a:pt x="2040" y="811"/>
                </a:cubicBezTo>
                <a:cubicBezTo>
                  <a:pt x="2052" y="808"/>
                  <a:pt x="2052" y="808"/>
                  <a:pt x="2052" y="808"/>
                </a:cubicBezTo>
                <a:cubicBezTo>
                  <a:pt x="2056" y="804"/>
                  <a:pt x="2056" y="804"/>
                  <a:pt x="2056" y="804"/>
                </a:cubicBezTo>
                <a:cubicBezTo>
                  <a:pt x="2060" y="798"/>
                  <a:pt x="2060" y="798"/>
                  <a:pt x="2060" y="798"/>
                </a:cubicBezTo>
                <a:cubicBezTo>
                  <a:pt x="2065" y="798"/>
                  <a:pt x="2065" y="798"/>
                  <a:pt x="2065" y="798"/>
                </a:cubicBezTo>
                <a:cubicBezTo>
                  <a:pt x="2070" y="792"/>
                  <a:pt x="2070" y="792"/>
                  <a:pt x="2070" y="792"/>
                </a:cubicBezTo>
                <a:cubicBezTo>
                  <a:pt x="2074" y="793"/>
                  <a:pt x="2074" y="793"/>
                  <a:pt x="2074" y="793"/>
                </a:cubicBezTo>
                <a:cubicBezTo>
                  <a:pt x="2077" y="791"/>
                  <a:pt x="2077" y="791"/>
                  <a:pt x="2077" y="791"/>
                </a:cubicBezTo>
                <a:cubicBezTo>
                  <a:pt x="2078" y="788"/>
                  <a:pt x="2078" y="788"/>
                  <a:pt x="2078" y="788"/>
                </a:cubicBezTo>
                <a:cubicBezTo>
                  <a:pt x="2080" y="784"/>
                  <a:pt x="2080" y="784"/>
                  <a:pt x="2080" y="784"/>
                </a:cubicBezTo>
                <a:cubicBezTo>
                  <a:pt x="2088" y="782"/>
                  <a:pt x="2088" y="782"/>
                  <a:pt x="2088" y="782"/>
                </a:cubicBezTo>
                <a:cubicBezTo>
                  <a:pt x="2098" y="769"/>
                  <a:pt x="2098" y="769"/>
                  <a:pt x="2098" y="769"/>
                </a:cubicBezTo>
                <a:cubicBezTo>
                  <a:pt x="2119" y="761"/>
                  <a:pt x="2119" y="761"/>
                  <a:pt x="2119" y="761"/>
                </a:cubicBezTo>
                <a:cubicBezTo>
                  <a:pt x="2122" y="761"/>
                  <a:pt x="2122" y="761"/>
                  <a:pt x="2122" y="761"/>
                </a:cubicBezTo>
                <a:cubicBezTo>
                  <a:pt x="2125" y="762"/>
                  <a:pt x="2125" y="762"/>
                  <a:pt x="2125" y="762"/>
                </a:cubicBezTo>
                <a:cubicBezTo>
                  <a:pt x="2128" y="761"/>
                  <a:pt x="2128" y="761"/>
                  <a:pt x="2128" y="761"/>
                </a:cubicBezTo>
                <a:cubicBezTo>
                  <a:pt x="2130" y="761"/>
                  <a:pt x="2130" y="761"/>
                  <a:pt x="2130" y="761"/>
                </a:cubicBezTo>
                <a:cubicBezTo>
                  <a:pt x="2134" y="761"/>
                  <a:pt x="2134" y="761"/>
                  <a:pt x="2134" y="761"/>
                </a:cubicBezTo>
                <a:cubicBezTo>
                  <a:pt x="2136" y="761"/>
                  <a:pt x="2136" y="761"/>
                  <a:pt x="2136" y="761"/>
                </a:cubicBezTo>
                <a:cubicBezTo>
                  <a:pt x="2136" y="761"/>
                  <a:pt x="2136" y="761"/>
                  <a:pt x="2136" y="761"/>
                </a:cubicBezTo>
                <a:cubicBezTo>
                  <a:pt x="2136" y="761"/>
                  <a:pt x="2137" y="761"/>
                  <a:pt x="2138" y="761"/>
                </a:cubicBezTo>
                <a:cubicBezTo>
                  <a:pt x="2141" y="755"/>
                  <a:pt x="2141" y="755"/>
                  <a:pt x="2141" y="755"/>
                </a:cubicBezTo>
                <a:cubicBezTo>
                  <a:pt x="2145" y="758"/>
                  <a:pt x="2145" y="758"/>
                  <a:pt x="2145" y="758"/>
                </a:cubicBezTo>
                <a:cubicBezTo>
                  <a:pt x="2148" y="755"/>
                  <a:pt x="2148" y="755"/>
                  <a:pt x="2148" y="755"/>
                </a:cubicBezTo>
                <a:cubicBezTo>
                  <a:pt x="2155" y="757"/>
                  <a:pt x="2155" y="757"/>
                  <a:pt x="2155" y="757"/>
                </a:cubicBezTo>
                <a:cubicBezTo>
                  <a:pt x="2159" y="763"/>
                  <a:pt x="2159" y="763"/>
                  <a:pt x="2159" y="763"/>
                </a:cubicBezTo>
                <a:cubicBezTo>
                  <a:pt x="2162" y="764"/>
                  <a:pt x="2162" y="764"/>
                  <a:pt x="2162" y="764"/>
                </a:cubicBezTo>
                <a:cubicBezTo>
                  <a:pt x="2160" y="767"/>
                  <a:pt x="2160" y="767"/>
                  <a:pt x="2160" y="767"/>
                </a:cubicBezTo>
                <a:cubicBezTo>
                  <a:pt x="2160" y="769"/>
                  <a:pt x="2160" y="769"/>
                  <a:pt x="2160" y="769"/>
                </a:cubicBezTo>
                <a:cubicBezTo>
                  <a:pt x="2175" y="776"/>
                  <a:pt x="2175" y="776"/>
                  <a:pt x="2175" y="776"/>
                </a:cubicBezTo>
                <a:cubicBezTo>
                  <a:pt x="2180" y="777"/>
                  <a:pt x="2180" y="777"/>
                  <a:pt x="2180" y="777"/>
                </a:cubicBezTo>
                <a:cubicBezTo>
                  <a:pt x="2184" y="773"/>
                  <a:pt x="2184" y="773"/>
                  <a:pt x="2184" y="773"/>
                </a:cubicBezTo>
                <a:cubicBezTo>
                  <a:pt x="2180" y="771"/>
                  <a:pt x="2180" y="771"/>
                  <a:pt x="2180" y="771"/>
                </a:cubicBezTo>
                <a:cubicBezTo>
                  <a:pt x="2180" y="768"/>
                  <a:pt x="2180" y="768"/>
                  <a:pt x="2180" y="768"/>
                </a:cubicBezTo>
                <a:cubicBezTo>
                  <a:pt x="2179" y="768"/>
                  <a:pt x="2178" y="768"/>
                  <a:pt x="2178" y="767"/>
                </a:cubicBezTo>
                <a:cubicBezTo>
                  <a:pt x="2178" y="767"/>
                  <a:pt x="2178" y="767"/>
                  <a:pt x="2178" y="766"/>
                </a:cubicBezTo>
                <a:cubicBezTo>
                  <a:pt x="2173" y="763"/>
                  <a:pt x="2170" y="758"/>
                  <a:pt x="2168" y="753"/>
                </a:cubicBezTo>
                <a:cubicBezTo>
                  <a:pt x="2166" y="752"/>
                  <a:pt x="2166" y="752"/>
                  <a:pt x="2166" y="752"/>
                </a:cubicBezTo>
                <a:cubicBezTo>
                  <a:pt x="2164" y="748"/>
                  <a:pt x="2164" y="748"/>
                  <a:pt x="2164" y="748"/>
                </a:cubicBezTo>
                <a:cubicBezTo>
                  <a:pt x="2165" y="745"/>
                  <a:pt x="2165" y="745"/>
                  <a:pt x="2165" y="745"/>
                </a:cubicBezTo>
                <a:cubicBezTo>
                  <a:pt x="2162" y="737"/>
                  <a:pt x="2162" y="737"/>
                  <a:pt x="2162" y="737"/>
                </a:cubicBezTo>
                <a:cubicBezTo>
                  <a:pt x="2165" y="735"/>
                  <a:pt x="2165" y="735"/>
                  <a:pt x="2165" y="735"/>
                </a:cubicBezTo>
                <a:cubicBezTo>
                  <a:pt x="2166" y="733"/>
                  <a:pt x="2166" y="733"/>
                  <a:pt x="2166" y="733"/>
                </a:cubicBezTo>
                <a:cubicBezTo>
                  <a:pt x="2168" y="733"/>
                  <a:pt x="2168" y="733"/>
                  <a:pt x="2168" y="733"/>
                </a:cubicBezTo>
                <a:cubicBezTo>
                  <a:pt x="2173" y="726"/>
                  <a:pt x="2173" y="726"/>
                  <a:pt x="2173" y="726"/>
                </a:cubicBezTo>
                <a:cubicBezTo>
                  <a:pt x="2176" y="727"/>
                  <a:pt x="2176" y="727"/>
                  <a:pt x="2176" y="727"/>
                </a:cubicBezTo>
                <a:cubicBezTo>
                  <a:pt x="2177" y="723"/>
                  <a:pt x="2177" y="723"/>
                  <a:pt x="2177" y="723"/>
                </a:cubicBezTo>
                <a:cubicBezTo>
                  <a:pt x="2180" y="723"/>
                  <a:pt x="2180" y="723"/>
                  <a:pt x="2180" y="723"/>
                </a:cubicBezTo>
                <a:cubicBezTo>
                  <a:pt x="2183" y="721"/>
                  <a:pt x="2183" y="721"/>
                  <a:pt x="2183" y="721"/>
                </a:cubicBezTo>
                <a:cubicBezTo>
                  <a:pt x="2185" y="717"/>
                  <a:pt x="2185" y="717"/>
                  <a:pt x="2185" y="717"/>
                </a:cubicBezTo>
                <a:cubicBezTo>
                  <a:pt x="2190" y="714"/>
                  <a:pt x="2190" y="714"/>
                  <a:pt x="2190" y="714"/>
                </a:cubicBezTo>
                <a:cubicBezTo>
                  <a:pt x="2194" y="713"/>
                  <a:pt x="2194" y="713"/>
                  <a:pt x="2194" y="713"/>
                </a:cubicBezTo>
                <a:cubicBezTo>
                  <a:pt x="2195" y="715"/>
                  <a:pt x="2195" y="715"/>
                  <a:pt x="2195" y="715"/>
                </a:cubicBezTo>
                <a:cubicBezTo>
                  <a:pt x="2200" y="714"/>
                  <a:pt x="2200" y="714"/>
                  <a:pt x="2200" y="714"/>
                </a:cubicBezTo>
                <a:cubicBezTo>
                  <a:pt x="2198" y="710"/>
                  <a:pt x="2198" y="710"/>
                  <a:pt x="2198" y="710"/>
                </a:cubicBezTo>
                <a:cubicBezTo>
                  <a:pt x="2202" y="705"/>
                  <a:pt x="2202" y="705"/>
                  <a:pt x="2202" y="705"/>
                </a:cubicBezTo>
                <a:cubicBezTo>
                  <a:pt x="2195" y="700"/>
                  <a:pt x="2195" y="700"/>
                  <a:pt x="2195" y="700"/>
                </a:cubicBezTo>
                <a:cubicBezTo>
                  <a:pt x="2196" y="697"/>
                  <a:pt x="2196" y="697"/>
                  <a:pt x="2196" y="697"/>
                </a:cubicBezTo>
                <a:cubicBezTo>
                  <a:pt x="2196" y="695"/>
                  <a:pt x="2196" y="695"/>
                  <a:pt x="2196" y="695"/>
                </a:cubicBezTo>
                <a:cubicBezTo>
                  <a:pt x="2197" y="690"/>
                  <a:pt x="2197" y="690"/>
                  <a:pt x="2197" y="690"/>
                </a:cubicBezTo>
                <a:cubicBezTo>
                  <a:pt x="2196" y="689"/>
                  <a:pt x="2196" y="689"/>
                  <a:pt x="2196" y="689"/>
                </a:cubicBezTo>
                <a:cubicBezTo>
                  <a:pt x="2193" y="689"/>
                  <a:pt x="2193" y="689"/>
                  <a:pt x="2193" y="689"/>
                </a:cubicBezTo>
                <a:cubicBezTo>
                  <a:pt x="2188" y="681"/>
                  <a:pt x="2188" y="681"/>
                  <a:pt x="2188" y="681"/>
                </a:cubicBezTo>
                <a:cubicBezTo>
                  <a:pt x="2186" y="683"/>
                  <a:pt x="2186" y="683"/>
                  <a:pt x="2186" y="683"/>
                </a:cubicBezTo>
                <a:cubicBezTo>
                  <a:pt x="2185" y="680"/>
                  <a:pt x="2185" y="680"/>
                  <a:pt x="2185" y="680"/>
                </a:cubicBezTo>
                <a:cubicBezTo>
                  <a:pt x="2182" y="680"/>
                  <a:pt x="2182" y="680"/>
                  <a:pt x="2182" y="680"/>
                </a:cubicBezTo>
                <a:cubicBezTo>
                  <a:pt x="2182" y="677"/>
                  <a:pt x="2182" y="677"/>
                  <a:pt x="2182" y="677"/>
                </a:cubicBezTo>
                <a:cubicBezTo>
                  <a:pt x="2178" y="677"/>
                  <a:pt x="2178" y="677"/>
                  <a:pt x="2178" y="677"/>
                </a:cubicBezTo>
                <a:cubicBezTo>
                  <a:pt x="2171" y="681"/>
                  <a:pt x="2171" y="681"/>
                  <a:pt x="2171" y="681"/>
                </a:cubicBezTo>
                <a:cubicBezTo>
                  <a:pt x="2170" y="680"/>
                  <a:pt x="2170" y="680"/>
                  <a:pt x="2170" y="680"/>
                </a:cubicBezTo>
                <a:cubicBezTo>
                  <a:pt x="2166" y="680"/>
                  <a:pt x="2166" y="680"/>
                  <a:pt x="2166" y="680"/>
                </a:cubicBezTo>
                <a:cubicBezTo>
                  <a:pt x="2164" y="677"/>
                  <a:pt x="2164" y="677"/>
                  <a:pt x="2164" y="677"/>
                </a:cubicBezTo>
                <a:cubicBezTo>
                  <a:pt x="2160" y="677"/>
                  <a:pt x="2160" y="677"/>
                  <a:pt x="2160" y="677"/>
                </a:cubicBezTo>
                <a:cubicBezTo>
                  <a:pt x="2158" y="679"/>
                  <a:pt x="2158" y="679"/>
                  <a:pt x="2158" y="679"/>
                </a:cubicBezTo>
                <a:cubicBezTo>
                  <a:pt x="2153" y="679"/>
                  <a:pt x="2153" y="679"/>
                  <a:pt x="2153" y="679"/>
                </a:cubicBezTo>
                <a:cubicBezTo>
                  <a:pt x="2153" y="676"/>
                  <a:pt x="2153" y="676"/>
                  <a:pt x="2153" y="676"/>
                </a:cubicBezTo>
                <a:cubicBezTo>
                  <a:pt x="2145" y="670"/>
                  <a:pt x="2145" y="670"/>
                  <a:pt x="2145" y="670"/>
                </a:cubicBezTo>
                <a:cubicBezTo>
                  <a:pt x="2144" y="672"/>
                  <a:pt x="2144" y="672"/>
                  <a:pt x="2144" y="672"/>
                </a:cubicBezTo>
                <a:cubicBezTo>
                  <a:pt x="2142" y="670"/>
                  <a:pt x="2142" y="670"/>
                  <a:pt x="2142" y="670"/>
                </a:cubicBezTo>
                <a:cubicBezTo>
                  <a:pt x="2142" y="671"/>
                  <a:pt x="2142" y="671"/>
                  <a:pt x="2142" y="671"/>
                </a:cubicBezTo>
                <a:cubicBezTo>
                  <a:pt x="2142" y="671"/>
                  <a:pt x="2141" y="671"/>
                  <a:pt x="2141" y="671"/>
                </a:cubicBezTo>
                <a:cubicBezTo>
                  <a:pt x="2141" y="671"/>
                  <a:pt x="2140" y="671"/>
                  <a:pt x="2140" y="670"/>
                </a:cubicBezTo>
                <a:cubicBezTo>
                  <a:pt x="2134" y="675"/>
                  <a:pt x="2134" y="675"/>
                  <a:pt x="2134" y="675"/>
                </a:cubicBezTo>
                <a:cubicBezTo>
                  <a:pt x="2131" y="673"/>
                  <a:pt x="2131" y="673"/>
                  <a:pt x="2131" y="673"/>
                </a:cubicBezTo>
                <a:cubicBezTo>
                  <a:pt x="2128" y="676"/>
                  <a:pt x="2128" y="676"/>
                  <a:pt x="2128" y="676"/>
                </a:cubicBezTo>
                <a:cubicBezTo>
                  <a:pt x="2128" y="679"/>
                  <a:pt x="2128" y="679"/>
                  <a:pt x="2128" y="679"/>
                </a:cubicBezTo>
                <a:cubicBezTo>
                  <a:pt x="2126" y="680"/>
                  <a:pt x="2126" y="680"/>
                  <a:pt x="2126" y="680"/>
                </a:cubicBezTo>
                <a:cubicBezTo>
                  <a:pt x="2122" y="676"/>
                  <a:pt x="2122" y="676"/>
                  <a:pt x="2122" y="676"/>
                </a:cubicBezTo>
                <a:cubicBezTo>
                  <a:pt x="2120" y="677"/>
                  <a:pt x="2120" y="677"/>
                  <a:pt x="2120" y="677"/>
                </a:cubicBezTo>
                <a:cubicBezTo>
                  <a:pt x="2116" y="673"/>
                  <a:pt x="2116" y="673"/>
                  <a:pt x="2116" y="673"/>
                </a:cubicBezTo>
                <a:cubicBezTo>
                  <a:pt x="2123" y="669"/>
                  <a:pt x="2123" y="669"/>
                  <a:pt x="2123" y="669"/>
                </a:cubicBezTo>
                <a:cubicBezTo>
                  <a:pt x="2120" y="665"/>
                  <a:pt x="2120" y="665"/>
                  <a:pt x="2120" y="665"/>
                </a:cubicBezTo>
                <a:cubicBezTo>
                  <a:pt x="2120" y="665"/>
                  <a:pt x="2121" y="665"/>
                  <a:pt x="2121" y="665"/>
                </a:cubicBezTo>
                <a:cubicBezTo>
                  <a:pt x="2122" y="664"/>
                  <a:pt x="2122" y="664"/>
                  <a:pt x="2122" y="663"/>
                </a:cubicBezTo>
                <a:cubicBezTo>
                  <a:pt x="2126" y="663"/>
                  <a:pt x="2126" y="663"/>
                  <a:pt x="2126" y="663"/>
                </a:cubicBezTo>
                <a:cubicBezTo>
                  <a:pt x="2127" y="662"/>
                  <a:pt x="2127" y="662"/>
                  <a:pt x="2127" y="662"/>
                </a:cubicBezTo>
                <a:cubicBezTo>
                  <a:pt x="2132" y="657"/>
                  <a:pt x="2132" y="657"/>
                  <a:pt x="2132" y="657"/>
                </a:cubicBezTo>
                <a:cubicBezTo>
                  <a:pt x="2131" y="655"/>
                  <a:pt x="2131" y="655"/>
                  <a:pt x="2131" y="655"/>
                </a:cubicBezTo>
                <a:cubicBezTo>
                  <a:pt x="2132" y="654"/>
                  <a:pt x="2133" y="654"/>
                  <a:pt x="2134" y="653"/>
                </a:cubicBezTo>
                <a:cubicBezTo>
                  <a:pt x="2136" y="651"/>
                  <a:pt x="2136" y="651"/>
                  <a:pt x="2136" y="651"/>
                </a:cubicBezTo>
                <a:cubicBezTo>
                  <a:pt x="2140" y="651"/>
                  <a:pt x="2140" y="651"/>
                  <a:pt x="2140" y="651"/>
                </a:cubicBezTo>
                <a:cubicBezTo>
                  <a:pt x="2142" y="647"/>
                  <a:pt x="2142" y="647"/>
                  <a:pt x="2142" y="647"/>
                </a:cubicBezTo>
                <a:cubicBezTo>
                  <a:pt x="2142" y="645"/>
                  <a:pt x="2142" y="645"/>
                  <a:pt x="2142" y="645"/>
                </a:cubicBezTo>
                <a:cubicBezTo>
                  <a:pt x="2138" y="642"/>
                  <a:pt x="2136" y="639"/>
                  <a:pt x="2136" y="636"/>
                </a:cubicBezTo>
                <a:cubicBezTo>
                  <a:pt x="2134" y="632"/>
                  <a:pt x="2134" y="632"/>
                  <a:pt x="2134" y="632"/>
                </a:cubicBezTo>
                <a:cubicBezTo>
                  <a:pt x="2131" y="631"/>
                  <a:pt x="2131" y="631"/>
                  <a:pt x="2131" y="631"/>
                </a:cubicBezTo>
                <a:cubicBezTo>
                  <a:pt x="2134" y="623"/>
                  <a:pt x="2134" y="623"/>
                  <a:pt x="2134" y="623"/>
                </a:cubicBezTo>
                <a:cubicBezTo>
                  <a:pt x="2127" y="626"/>
                  <a:pt x="2127" y="626"/>
                  <a:pt x="2127" y="626"/>
                </a:cubicBezTo>
                <a:cubicBezTo>
                  <a:pt x="2122" y="625"/>
                  <a:pt x="2117" y="628"/>
                  <a:pt x="2113" y="635"/>
                </a:cubicBezTo>
                <a:cubicBezTo>
                  <a:pt x="2108" y="635"/>
                  <a:pt x="2108" y="635"/>
                  <a:pt x="2108" y="635"/>
                </a:cubicBezTo>
                <a:cubicBezTo>
                  <a:pt x="2108" y="634"/>
                  <a:pt x="2107" y="633"/>
                  <a:pt x="2106" y="632"/>
                </a:cubicBezTo>
                <a:cubicBezTo>
                  <a:pt x="2109" y="632"/>
                  <a:pt x="2109" y="632"/>
                  <a:pt x="2109" y="632"/>
                </a:cubicBezTo>
                <a:cubicBezTo>
                  <a:pt x="2109" y="628"/>
                  <a:pt x="2109" y="628"/>
                  <a:pt x="2109" y="628"/>
                </a:cubicBezTo>
                <a:cubicBezTo>
                  <a:pt x="2105" y="623"/>
                  <a:pt x="2105" y="623"/>
                  <a:pt x="2105" y="623"/>
                </a:cubicBezTo>
                <a:cubicBezTo>
                  <a:pt x="2109" y="622"/>
                  <a:pt x="2109" y="622"/>
                  <a:pt x="2109" y="622"/>
                </a:cubicBezTo>
                <a:cubicBezTo>
                  <a:pt x="2112" y="619"/>
                  <a:pt x="2112" y="619"/>
                  <a:pt x="2112" y="619"/>
                </a:cubicBezTo>
                <a:cubicBezTo>
                  <a:pt x="2112" y="617"/>
                  <a:pt x="2112" y="617"/>
                  <a:pt x="2112" y="617"/>
                </a:cubicBezTo>
                <a:cubicBezTo>
                  <a:pt x="2113" y="618"/>
                  <a:pt x="2113" y="618"/>
                  <a:pt x="2113" y="618"/>
                </a:cubicBezTo>
                <a:cubicBezTo>
                  <a:pt x="2114" y="617"/>
                  <a:pt x="2114" y="617"/>
                  <a:pt x="2114" y="617"/>
                </a:cubicBezTo>
                <a:cubicBezTo>
                  <a:pt x="2118" y="617"/>
                  <a:pt x="2118" y="617"/>
                  <a:pt x="2118" y="617"/>
                </a:cubicBezTo>
                <a:cubicBezTo>
                  <a:pt x="2118" y="615"/>
                  <a:pt x="2118" y="615"/>
                  <a:pt x="2118" y="615"/>
                </a:cubicBezTo>
                <a:cubicBezTo>
                  <a:pt x="2122" y="615"/>
                  <a:pt x="2122" y="615"/>
                  <a:pt x="2122" y="615"/>
                </a:cubicBezTo>
                <a:cubicBezTo>
                  <a:pt x="2124" y="612"/>
                  <a:pt x="2124" y="612"/>
                  <a:pt x="2124" y="612"/>
                </a:cubicBezTo>
                <a:cubicBezTo>
                  <a:pt x="2124" y="608"/>
                  <a:pt x="2124" y="608"/>
                  <a:pt x="2124" y="608"/>
                </a:cubicBezTo>
                <a:cubicBezTo>
                  <a:pt x="2123" y="607"/>
                  <a:pt x="2123" y="607"/>
                  <a:pt x="2123" y="607"/>
                </a:cubicBezTo>
                <a:cubicBezTo>
                  <a:pt x="2122" y="608"/>
                  <a:pt x="2122" y="608"/>
                  <a:pt x="2122" y="608"/>
                </a:cubicBezTo>
                <a:cubicBezTo>
                  <a:pt x="2118" y="608"/>
                  <a:pt x="2118" y="608"/>
                  <a:pt x="2118" y="608"/>
                </a:cubicBezTo>
                <a:cubicBezTo>
                  <a:pt x="2118" y="611"/>
                  <a:pt x="2118" y="611"/>
                  <a:pt x="2118" y="611"/>
                </a:cubicBezTo>
                <a:cubicBezTo>
                  <a:pt x="2114" y="611"/>
                  <a:pt x="2114" y="611"/>
                  <a:pt x="2114" y="611"/>
                </a:cubicBezTo>
                <a:cubicBezTo>
                  <a:pt x="2109" y="605"/>
                  <a:pt x="2109" y="605"/>
                  <a:pt x="2109" y="605"/>
                </a:cubicBezTo>
                <a:cubicBezTo>
                  <a:pt x="2109" y="601"/>
                  <a:pt x="2109" y="601"/>
                  <a:pt x="2109" y="601"/>
                </a:cubicBezTo>
                <a:cubicBezTo>
                  <a:pt x="2104" y="594"/>
                  <a:pt x="2104" y="594"/>
                  <a:pt x="2104" y="594"/>
                </a:cubicBezTo>
                <a:cubicBezTo>
                  <a:pt x="2100" y="594"/>
                  <a:pt x="2100" y="594"/>
                  <a:pt x="2100" y="594"/>
                </a:cubicBezTo>
                <a:cubicBezTo>
                  <a:pt x="2096" y="600"/>
                  <a:pt x="2096" y="600"/>
                  <a:pt x="2096" y="600"/>
                </a:cubicBezTo>
                <a:cubicBezTo>
                  <a:pt x="2095" y="600"/>
                  <a:pt x="2094" y="600"/>
                  <a:pt x="2094" y="600"/>
                </a:cubicBezTo>
                <a:cubicBezTo>
                  <a:pt x="2087" y="604"/>
                  <a:pt x="2087" y="604"/>
                  <a:pt x="2087" y="604"/>
                </a:cubicBezTo>
                <a:cubicBezTo>
                  <a:pt x="2083" y="602"/>
                  <a:pt x="2080" y="603"/>
                  <a:pt x="2076" y="605"/>
                </a:cubicBezTo>
                <a:cubicBezTo>
                  <a:pt x="2076" y="605"/>
                  <a:pt x="2076" y="606"/>
                  <a:pt x="2076" y="607"/>
                </a:cubicBezTo>
                <a:cubicBezTo>
                  <a:pt x="2075" y="611"/>
                  <a:pt x="2075" y="611"/>
                  <a:pt x="2075" y="611"/>
                </a:cubicBezTo>
                <a:cubicBezTo>
                  <a:pt x="2075" y="611"/>
                  <a:pt x="2076" y="611"/>
                  <a:pt x="2075" y="611"/>
                </a:cubicBezTo>
                <a:cubicBezTo>
                  <a:pt x="2075" y="612"/>
                  <a:pt x="2074" y="612"/>
                  <a:pt x="2074" y="612"/>
                </a:cubicBezTo>
                <a:cubicBezTo>
                  <a:pt x="2072" y="611"/>
                  <a:pt x="2072" y="611"/>
                  <a:pt x="2072" y="611"/>
                </a:cubicBezTo>
                <a:cubicBezTo>
                  <a:pt x="2071" y="611"/>
                  <a:pt x="2070" y="612"/>
                  <a:pt x="2069" y="612"/>
                </a:cubicBezTo>
                <a:cubicBezTo>
                  <a:pt x="2066" y="611"/>
                  <a:pt x="2066" y="611"/>
                  <a:pt x="2066" y="611"/>
                </a:cubicBezTo>
                <a:cubicBezTo>
                  <a:pt x="2064" y="614"/>
                  <a:pt x="2064" y="614"/>
                  <a:pt x="2064" y="614"/>
                </a:cubicBezTo>
                <a:cubicBezTo>
                  <a:pt x="2058" y="614"/>
                  <a:pt x="2058" y="614"/>
                  <a:pt x="2058" y="614"/>
                </a:cubicBezTo>
                <a:cubicBezTo>
                  <a:pt x="2058" y="618"/>
                  <a:pt x="2058" y="618"/>
                  <a:pt x="2058" y="618"/>
                </a:cubicBezTo>
                <a:cubicBezTo>
                  <a:pt x="2054" y="618"/>
                  <a:pt x="2054" y="618"/>
                  <a:pt x="2054" y="618"/>
                </a:cubicBezTo>
                <a:cubicBezTo>
                  <a:pt x="2054" y="614"/>
                  <a:pt x="2054" y="614"/>
                  <a:pt x="2054" y="614"/>
                </a:cubicBezTo>
                <a:cubicBezTo>
                  <a:pt x="2052" y="615"/>
                  <a:pt x="2052" y="615"/>
                  <a:pt x="2052" y="615"/>
                </a:cubicBezTo>
                <a:cubicBezTo>
                  <a:pt x="2052" y="618"/>
                  <a:pt x="2052" y="618"/>
                  <a:pt x="2052" y="618"/>
                </a:cubicBezTo>
                <a:cubicBezTo>
                  <a:pt x="2050" y="619"/>
                  <a:pt x="2050" y="619"/>
                  <a:pt x="2050" y="619"/>
                </a:cubicBezTo>
                <a:cubicBezTo>
                  <a:pt x="2048" y="618"/>
                  <a:pt x="2048" y="618"/>
                  <a:pt x="2048" y="618"/>
                </a:cubicBezTo>
                <a:cubicBezTo>
                  <a:pt x="2040" y="619"/>
                  <a:pt x="2040" y="619"/>
                  <a:pt x="2040" y="619"/>
                </a:cubicBezTo>
                <a:cubicBezTo>
                  <a:pt x="2040" y="622"/>
                  <a:pt x="2040" y="622"/>
                  <a:pt x="2040" y="622"/>
                </a:cubicBezTo>
                <a:cubicBezTo>
                  <a:pt x="2039" y="623"/>
                  <a:pt x="2039" y="623"/>
                  <a:pt x="2039" y="623"/>
                </a:cubicBezTo>
                <a:cubicBezTo>
                  <a:pt x="2036" y="621"/>
                  <a:pt x="2036" y="621"/>
                  <a:pt x="2036" y="621"/>
                </a:cubicBezTo>
                <a:cubicBezTo>
                  <a:pt x="2032" y="621"/>
                  <a:pt x="2032" y="621"/>
                  <a:pt x="2032" y="621"/>
                </a:cubicBezTo>
                <a:cubicBezTo>
                  <a:pt x="2031" y="622"/>
                  <a:pt x="2031" y="622"/>
                  <a:pt x="2031" y="622"/>
                </a:cubicBezTo>
                <a:cubicBezTo>
                  <a:pt x="2028" y="621"/>
                  <a:pt x="2028" y="621"/>
                  <a:pt x="2028" y="621"/>
                </a:cubicBezTo>
                <a:cubicBezTo>
                  <a:pt x="2028" y="618"/>
                  <a:pt x="2028" y="618"/>
                  <a:pt x="2028" y="618"/>
                </a:cubicBezTo>
                <a:cubicBezTo>
                  <a:pt x="2026" y="618"/>
                  <a:pt x="2026" y="618"/>
                  <a:pt x="2026" y="618"/>
                </a:cubicBezTo>
                <a:cubicBezTo>
                  <a:pt x="2024" y="617"/>
                  <a:pt x="2024" y="617"/>
                  <a:pt x="2024" y="617"/>
                </a:cubicBezTo>
                <a:cubicBezTo>
                  <a:pt x="2020" y="617"/>
                  <a:pt x="2020" y="617"/>
                  <a:pt x="2020" y="617"/>
                </a:cubicBezTo>
                <a:cubicBezTo>
                  <a:pt x="2021" y="618"/>
                  <a:pt x="2021" y="618"/>
                  <a:pt x="2021" y="618"/>
                </a:cubicBezTo>
                <a:cubicBezTo>
                  <a:pt x="2020" y="617"/>
                  <a:pt x="2020" y="617"/>
                  <a:pt x="2018" y="617"/>
                </a:cubicBezTo>
                <a:cubicBezTo>
                  <a:pt x="2005" y="617"/>
                  <a:pt x="2005" y="617"/>
                  <a:pt x="2005" y="617"/>
                </a:cubicBezTo>
                <a:cubicBezTo>
                  <a:pt x="2005" y="612"/>
                  <a:pt x="2005" y="612"/>
                  <a:pt x="2005" y="612"/>
                </a:cubicBezTo>
                <a:cubicBezTo>
                  <a:pt x="2002" y="611"/>
                  <a:pt x="2002" y="611"/>
                  <a:pt x="2002" y="611"/>
                </a:cubicBezTo>
                <a:cubicBezTo>
                  <a:pt x="2002" y="610"/>
                  <a:pt x="2001" y="609"/>
                  <a:pt x="2000" y="608"/>
                </a:cubicBezTo>
                <a:cubicBezTo>
                  <a:pt x="1998" y="605"/>
                  <a:pt x="1998" y="605"/>
                  <a:pt x="1998" y="605"/>
                </a:cubicBezTo>
                <a:cubicBezTo>
                  <a:pt x="1992" y="605"/>
                  <a:pt x="1992" y="605"/>
                  <a:pt x="1992" y="605"/>
                </a:cubicBezTo>
                <a:cubicBezTo>
                  <a:pt x="1988" y="608"/>
                  <a:pt x="1988" y="608"/>
                  <a:pt x="1988" y="608"/>
                </a:cubicBezTo>
                <a:cubicBezTo>
                  <a:pt x="1986" y="611"/>
                  <a:pt x="1986" y="611"/>
                  <a:pt x="1986" y="611"/>
                </a:cubicBezTo>
                <a:cubicBezTo>
                  <a:pt x="1981" y="611"/>
                  <a:pt x="1981" y="611"/>
                  <a:pt x="1981" y="611"/>
                </a:cubicBezTo>
                <a:cubicBezTo>
                  <a:pt x="1980" y="612"/>
                  <a:pt x="1980" y="612"/>
                  <a:pt x="1980" y="612"/>
                </a:cubicBezTo>
                <a:cubicBezTo>
                  <a:pt x="1977" y="612"/>
                  <a:pt x="1977" y="612"/>
                  <a:pt x="1977" y="612"/>
                </a:cubicBezTo>
                <a:cubicBezTo>
                  <a:pt x="1972" y="618"/>
                  <a:pt x="1972" y="618"/>
                  <a:pt x="1972" y="618"/>
                </a:cubicBezTo>
                <a:cubicBezTo>
                  <a:pt x="1966" y="618"/>
                  <a:pt x="1966" y="618"/>
                  <a:pt x="1966" y="618"/>
                </a:cubicBezTo>
                <a:cubicBezTo>
                  <a:pt x="1955" y="632"/>
                  <a:pt x="1955" y="632"/>
                  <a:pt x="1955" y="632"/>
                </a:cubicBezTo>
                <a:cubicBezTo>
                  <a:pt x="1951" y="629"/>
                  <a:pt x="1951" y="629"/>
                  <a:pt x="1951" y="629"/>
                </a:cubicBezTo>
                <a:cubicBezTo>
                  <a:pt x="1950" y="630"/>
                  <a:pt x="1949" y="630"/>
                  <a:pt x="1948" y="631"/>
                </a:cubicBezTo>
                <a:cubicBezTo>
                  <a:pt x="1948" y="639"/>
                  <a:pt x="1948" y="639"/>
                  <a:pt x="1948" y="639"/>
                </a:cubicBezTo>
                <a:cubicBezTo>
                  <a:pt x="1946" y="641"/>
                  <a:pt x="1946" y="641"/>
                  <a:pt x="1946" y="641"/>
                </a:cubicBezTo>
                <a:cubicBezTo>
                  <a:pt x="1942" y="641"/>
                  <a:pt x="1942" y="641"/>
                  <a:pt x="1942" y="641"/>
                </a:cubicBezTo>
                <a:cubicBezTo>
                  <a:pt x="1941" y="642"/>
                  <a:pt x="1941" y="642"/>
                  <a:pt x="1941" y="642"/>
                </a:cubicBezTo>
                <a:cubicBezTo>
                  <a:pt x="1938" y="642"/>
                  <a:pt x="1938" y="642"/>
                  <a:pt x="1938" y="642"/>
                </a:cubicBezTo>
                <a:cubicBezTo>
                  <a:pt x="1941" y="645"/>
                  <a:pt x="1941" y="645"/>
                  <a:pt x="1941" y="645"/>
                </a:cubicBezTo>
                <a:cubicBezTo>
                  <a:pt x="1940" y="646"/>
                  <a:pt x="1940" y="646"/>
                  <a:pt x="1940" y="646"/>
                </a:cubicBezTo>
                <a:cubicBezTo>
                  <a:pt x="1933" y="646"/>
                  <a:pt x="1933" y="646"/>
                  <a:pt x="1933" y="646"/>
                </a:cubicBezTo>
                <a:cubicBezTo>
                  <a:pt x="1925" y="653"/>
                  <a:pt x="1925" y="653"/>
                  <a:pt x="1925" y="653"/>
                </a:cubicBezTo>
                <a:cubicBezTo>
                  <a:pt x="1922" y="652"/>
                  <a:pt x="1922" y="652"/>
                  <a:pt x="1922" y="652"/>
                </a:cubicBezTo>
                <a:cubicBezTo>
                  <a:pt x="1920" y="653"/>
                  <a:pt x="1920" y="653"/>
                  <a:pt x="1920" y="653"/>
                </a:cubicBezTo>
                <a:cubicBezTo>
                  <a:pt x="1919" y="653"/>
                  <a:pt x="1918" y="653"/>
                  <a:pt x="1918" y="653"/>
                </a:cubicBezTo>
                <a:cubicBezTo>
                  <a:pt x="1912" y="654"/>
                  <a:pt x="1906" y="654"/>
                  <a:pt x="1900" y="655"/>
                </a:cubicBezTo>
                <a:cubicBezTo>
                  <a:pt x="1898" y="656"/>
                  <a:pt x="1898" y="656"/>
                  <a:pt x="1898" y="656"/>
                </a:cubicBezTo>
                <a:cubicBezTo>
                  <a:pt x="1894" y="655"/>
                  <a:pt x="1890" y="657"/>
                  <a:pt x="1886" y="663"/>
                </a:cubicBezTo>
                <a:cubicBezTo>
                  <a:pt x="1888" y="670"/>
                  <a:pt x="1888" y="670"/>
                  <a:pt x="1888" y="670"/>
                </a:cubicBezTo>
                <a:cubicBezTo>
                  <a:pt x="1886" y="679"/>
                  <a:pt x="1886" y="679"/>
                  <a:pt x="1886" y="679"/>
                </a:cubicBezTo>
                <a:cubicBezTo>
                  <a:pt x="1877" y="679"/>
                  <a:pt x="1877" y="679"/>
                  <a:pt x="1877" y="679"/>
                </a:cubicBezTo>
                <a:cubicBezTo>
                  <a:pt x="1876" y="681"/>
                  <a:pt x="1876" y="681"/>
                  <a:pt x="1876" y="681"/>
                </a:cubicBezTo>
                <a:cubicBezTo>
                  <a:pt x="1873" y="680"/>
                  <a:pt x="1873" y="680"/>
                  <a:pt x="1873" y="680"/>
                </a:cubicBezTo>
                <a:cubicBezTo>
                  <a:pt x="1871" y="681"/>
                  <a:pt x="1871" y="681"/>
                  <a:pt x="1871" y="681"/>
                </a:cubicBezTo>
                <a:cubicBezTo>
                  <a:pt x="1871" y="686"/>
                  <a:pt x="1871" y="686"/>
                  <a:pt x="1871" y="686"/>
                </a:cubicBezTo>
                <a:cubicBezTo>
                  <a:pt x="1863" y="687"/>
                  <a:pt x="1863" y="687"/>
                  <a:pt x="1863" y="687"/>
                </a:cubicBezTo>
                <a:cubicBezTo>
                  <a:pt x="1862" y="690"/>
                  <a:pt x="1862" y="690"/>
                  <a:pt x="1862" y="690"/>
                </a:cubicBezTo>
                <a:cubicBezTo>
                  <a:pt x="1859" y="693"/>
                  <a:pt x="1859" y="693"/>
                  <a:pt x="1859" y="693"/>
                </a:cubicBezTo>
                <a:cubicBezTo>
                  <a:pt x="1850" y="693"/>
                  <a:pt x="1850" y="693"/>
                  <a:pt x="1850" y="693"/>
                </a:cubicBezTo>
                <a:cubicBezTo>
                  <a:pt x="1846" y="697"/>
                  <a:pt x="1846" y="697"/>
                  <a:pt x="1846" y="697"/>
                </a:cubicBezTo>
                <a:cubicBezTo>
                  <a:pt x="1846" y="698"/>
                  <a:pt x="1846" y="699"/>
                  <a:pt x="1845" y="700"/>
                </a:cubicBezTo>
                <a:cubicBezTo>
                  <a:pt x="1845" y="701"/>
                  <a:pt x="1845" y="701"/>
                  <a:pt x="1845" y="701"/>
                </a:cubicBezTo>
                <a:cubicBezTo>
                  <a:pt x="1846" y="702"/>
                  <a:pt x="1847" y="702"/>
                  <a:pt x="1848" y="703"/>
                </a:cubicBezTo>
                <a:cubicBezTo>
                  <a:pt x="1849" y="707"/>
                  <a:pt x="1849" y="707"/>
                  <a:pt x="1849" y="707"/>
                </a:cubicBezTo>
                <a:cubicBezTo>
                  <a:pt x="1841" y="714"/>
                  <a:pt x="1841" y="714"/>
                  <a:pt x="1841" y="714"/>
                </a:cubicBezTo>
                <a:cubicBezTo>
                  <a:pt x="1840" y="713"/>
                  <a:pt x="1840" y="713"/>
                  <a:pt x="1840" y="713"/>
                </a:cubicBezTo>
                <a:cubicBezTo>
                  <a:pt x="1836" y="717"/>
                  <a:pt x="1836" y="717"/>
                  <a:pt x="1836" y="717"/>
                </a:cubicBezTo>
                <a:cubicBezTo>
                  <a:pt x="1831" y="717"/>
                  <a:pt x="1831" y="717"/>
                  <a:pt x="1831" y="717"/>
                </a:cubicBezTo>
                <a:cubicBezTo>
                  <a:pt x="1830" y="720"/>
                  <a:pt x="1830" y="720"/>
                  <a:pt x="1830" y="720"/>
                </a:cubicBezTo>
                <a:cubicBezTo>
                  <a:pt x="1827" y="720"/>
                  <a:pt x="1827" y="720"/>
                  <a:pt x="1827" y="720"/>
                </a:cubicBezTo>
                <a:cubicBezTo>
                  <a:pt x="1826" y="717"/>
                  <a:pt x="1826" y="717"/>
                  <a:pt x="1826" y="717"/>
                </a:cubicBezTo>
                <a:cubicBezTo>
                  <a:pt x="1824" y="721"/>
                  <a:pt x="1824" y="721"/>
                  <a:pt x="1824" y="721"/>
                </a:cubicBezTo>
                <a:cubicBezTo>
                  <a:pt x="1824" y="720"/>
                  <a:pt x="1824" y="719"/>
                  <a:pt x="1823" y="718"/>
                </a:cubicBezTo>
                <a:cubicBezTo>
                  <a:pt x="1820" y="721"/>
                  <a:pt x="1820" y="721"/>
                  <a:pt x="1820" y="721"/>
                </a:cubicBezTo>
                <a:cubicBezTo>
                  <a:pt x="1818" y="721"/>
                  <a:pt x="1818" y="721"/>
                  <a:pt x="1818" y="721"/>
                </a:cubicBezTo>
                <a:cubicBezTo>
                  <a:pt x="1815" y="716"/>
                  <a:pt x="1815" y="716"/>
                  <a:pt x="1815" y="716"/>
                </a:cubicBezTo>
                <a:cubicBezTo>
                  <a:pt x="1802" y="721"/>
                  <a:pt x="1802" y="721"/>
                  <a:pt x="1802" y="721"/>
                </a:cubicBezTo>
                <a:cubicBezTo>
                  <a:pt x="1793" y="728"/>
                  <a:pt x="1793" y="728"/>
                  <a:pt x="1793" y="728"/>
                </a:cubicBezTo>
                <a:cubicBezTo>
                  <a:pt x="1792" y="727"/>
                  <a:pt x="1792" y="727"/>
                  <a:pt x="1792" y="727"/>
                </a:cubicBezTo>
                <a:cubicBezTo>
                  <a:pt x="1787" y="727"/>
                  <a:pt x="1787" y="727"/>
                  <a:pt x="1787" y="727"/>
                </a:cubicBezTo>
                <a:cubicBezTo>
                  <a:pt x="1786" y="728"/>
                  <a:pt x="1786" y="728"/>
                  <a:pt x="1786" y="728"/>
                </a:cubicBezTo>
                <a:cubicBezTo>
                  <a:pt x="1780" y="724"/>
                  <a:pt x="1780" y="724"/>
                  <a:pt x="1780" y="724"/>
                </a:cubicBezTo>
                <a:cubicBezTo>
                  <a:pt x="1779" y="725"/>
                  <a:pt x="1779" y="725"/>
                  <a:pt x="1779" y="725"/>
                </a:cubicBezTo>
                <a:cubicBezTo>
                  <a:pt x="1776" y="725"/>
                  <a:pt x="1776" y="725"/>
                  <a:pt x="1776" y="725"/>
                </a:cubicBezTo>
                <a:cubicBezTo>
                  <a:pt x="1775" y="724"/>
                  <a:pt x="1775" y="724"/>
                  <a:pt x="1775" y="724"/>
                </a:cubicBezTo>
                <a:cubicBezTo>
                  <a:pt x="1768" y="725"/>
                  <a:pt x="1768" y="725"/>
                  <a:pt x="1768" y="725"/>
                </a:cubicBezTo>
                <a:cubicBezTo>
                  <a:pt x="1768" y="728"/>
                  <a:pt x="1768" y="728"/>
                  <a:pt x="1768" y="728"/>
                </a:cubicBezTo>
                <a:cubicBezTo>
                  <a:pt x="1764" y="733"/>
                  <a:pt x="1764" y="733"/>
                  <a:pt x="1764" y="733"/>
                </a:cubicBezTo>
                <a:cubicBezTo>
                  <a:pt x="1766" y="742"/>
                  <a:pt x="1766" y="742"/>
                  <a:pt x="1766" y="742"/>
                </a:cubicBezTo>
                <a:cubicBezTo>
                  <a:pt x="1768" y="743"/>
                  <a:pt x="1768" y="743"/>
                  <a:pt x="1768" y="743"/>
                </a:cubicBezTo>
                <a:cubicBezTo>
                  <a:pt x="1772" y="747"/>
                  <a:pt x="1772" y="747"/>
                  <a:pt x="1772" y="747"/>
                </a:cubicBezTo>
                <a:cubicBezTo>
                  <a:pt x="1778" y="751"/>
                  <a:pt x="1778" y="751"/>
                  <a:pt x="1778" y="751"/>
                </a:cubicBezTo>
                <a:cubicBezTo>
                  <a:pt x="1787" y="749"/>
                  <a:pt x="1787" y="749"/>
                  <a:pt x="1787" y="749"/>
                </a:cubicBezTo>
                <a:cubicBezTo>
                  <a:pt x="1794" y="747"/>
                  <a:pt x="1794" y="747"/>
                  <a:pt x="1794" y="747"/>
                </a:cubicBezTo>
                <a:cubicBezTo>
                  <a:pt x="1804" y="762"/>
                  <a:pt x="1804" y="762"/>
                  <a:pt x="1804" y="762"/>
                </a:cubicBezTo>
                <a:cubicBezTo>
                  <a:pt x="1802" y="763"/>
                  <a:pt x="1802" y="763"/>
                  <a:pt x="1802" y="763"/>
                </a:cubicBezTo>
                <a:cubicBezTo>
                  <a:pt x="1798" y="770"/>
                  <a:pt x="1798" y="770"/>
                  <a:pt x="1798" y="770"/>
                </a:cubicBezTo>
                <a:cubicBezTo>
                  <a:pt x="1796" y="771"/>
                  <a:pt x="1796" y="771"/>
                  <a:pt x="1796" y="771"/>
                </a:cubicBezTo>
                <a:cubicBezTo>
                  <a:pt x="1796" y="777"/>
                  <a:pt x="1796" y="777"/>
                  <a:pt x="1796" y="777"/>
                </a:cubicBezTo>
                <a:cubicBezTo>
                  <a:pt x="1804" y="789"/>
                  <a:pt x="1804" y="789"/>
                  <a:pt x="1804" y="789"/>
                </a:cubicBezTo>
                <a:cubicBezTo>
                  <a:pt x="1802" y="793"/>
                  <a:pt x="1802" y="793"/>
                  <a:pt x="1802" y="793"/>
                </a:cubicBezTo>
                <a:cubicBezTo>
                  <a:pt x="1799" y="796"/>
                  <a:pt x="1797" y="796"/>
                  <a:pt x="1794" y="794"/>
                </a:cubicBezTo>
                <a:cubicBezTo>
                  <a:pt x="1792" y="793"/>
                  <a:pt x="1790" y="792"/>
                  <a:pt x="1790" y="792"/>
                </a:cubicBezTo>
                <a:cubicBezTo>
                  <a:pt x="1790" y="794"/>
                  <a:pt x="1790" y="794"/>
                  <a:pt x="1790" y="794"/>
                </a:cubicBezTo>
                <a:cubicBezTo>
                  <a:pt x="1787" y="795"/>
                  <a:pt x="1787" y="795"/>
                  <a:pt x="1787" y="795"/>
                </a:cubicBezTo>
                <a:cubicBezTo>
                  <a:pt x="1787" y="799"/>
                  <a:pt x="1787" y="799"/>
                  <a:pt x="1787" y="799"/>
                </a:cubicBezTo>
                <a:cubicBezTo>
                  <a:pt x="1784" y="795"/>
                  <a:pt x="1784" y="795"/>
                  <a:pt x="1784" y="795"/>
                </a:cubicBezTo>
                <a:cubicBezTo>
                  <a:pt x="1774" y="798"/>
                  <a:pt x="1774" y="798"/>
                  <a:pt x="1774" y="798"/>
                </a:cubicBezTo>
                <a:cubicBezTo>
                  <a:pt x="1774" y="799"/>
                  <a:pt x="1773" y="799"/>
                  <a:pt x="1773" y="799"/>
                </a:cubicBezTo>
                <a:cubicBezTo>
                  <a:pt x="1772" y="799"/>
                  <a:pt x="1772" y="799"/>
                  <a:pt x="1772" y="798"/>
                </a:cubicBezTo>
                <a:cubicBezTo>
                  <a:pt x="1759" y="798"/>
                  <a:pt x="1759" y="798"/>
                  <a:pt x="1759" y="798"/>
                </a:cubicBezTo>
                <a:cubicBezTo>
                  <a:pt x="1756" y="793"/>
                  <a:pt x="1756" y="793"/>
                  <a:pt x="1756" y="793"/>
                </a:cubicBezTo>
                <a:cubicBezTo>
                  <a:pt x="1752" y="793"/>
                  <a:pt x="1752" y="793"/>
                  <a:pt x="1752" y="793"/>
                </a:cubicBezTo>
                <a:cubicBezTo>
                  <a:pt x="1744" y="801"/>
                  <a:pt x="1744" y="801"/>
                  <a:pt x="1744" y="801"/>
                </a:cubicBezTo>
                <a:cubicBezTo>
                  <a:pt x="1739" y="799"/>
                  <a:pt x="1732" y="798"/>
                  <a:pt x="1725" y="798"/>
                </a:cubicBezTo>
                <a:cubicBezTo>
                  <a:pt x="1723" y="801"/>
                  <a:pt x="1723" y="801"/>
                  <a:pt x="1723" y="801"/>
                </a:cubicBezTo>
                <a:cubicBezTo>
                  <a:pt x="1696" y="801"/>
                  <a:pt x="1696" y="801"/>
                  <a:pt x="1696" y="801"/>
                </a:cubicBezTo>
                <a:cubicBezTo>
                  <a:pt x="1695" y="801"/>
                  <a:pt x="1695" y="801"/>
                  <a:pt x="1695" y="801"/>
                </a:cubicBezTo>
                <a:cubicBezTo>
                  <a:pt x="1694" y="801"/>
                  <a:pt x="1694" y="801"/>
                  <a:pt x="1693" y="801"/>
                </a:cubicBezTo>
                <a:cubicBezTo>
                  <a:pt x="1675" y="791"/>
                  <a:pt x="1675" y="791"/>
                  <a:pt x="1675" y="791"/>
                </a:cubicBezTo>
                <a:cubicBezTo>
                  <a:pt x="1670" y="791"/>
                  <a:pt x="1670" y="791"/>
                  <a:pt x="1670" y="791"/>
                </a:cubicBezTo>
                <a:cubicBezTo>
                  <a:pt x="1668" y="794"/>
                  <a:pt x="1668" y="794"/>
                  <a:pt x="1668" y="794"/>
                </a:cubicBezTo>
                <a:cubicBezTo>
                  <a:pt x="1660" y="795"/>
                  <a:pt x="1660" y="795"/>
                  <a:pt x="1660" y="795"/>
                </a:cubicBezTo>
                <a:cubicBezTo>
                  <a:pt x="1658" y="796"/>
                  <a:pt x="1658" y="796"/>
                  <a:pt x="1658" y="796"/>
                </a:cubicBezTo>
                <a:cubicBezTo>
                  <a:pt x="1658" y="798"/>
                  <a:pt x="1658" y="798"/>
                  <a:pt x="1658" y="798"/>
                </a:cubicBezTo>
                <a:cubicBezTo>
                  <a:pt x="1658" y="801"/>
                  <a:pt x="1658" y="801"/>
                  <a:pt x="1658" y="801"/>
                </a:cubicBezTo>
                <a:cubicBezTo>
                  <a:pt x="1636" y="805"/>
                  <a:pt x="1636" y="805"/>
                  <a:pt x="1636" y="805"/>
                </a:cubicBezTo>
                <a:cubicBezTo>
                  <a:pt x="1632" y="804"/>
                  <a:pt x="1632" y="804"/>
                  <a:pt x="1632" y="804"/>
                </a:cubicBezTo>
                <a:cubicBezTo>
                  <a:pt x="1633" y="806"/>
                  <a:pt x="1632" y="807"/>
                  <a:pt x="1630" y="807"/>
                </a:cubicBezTo>
                <a:cubicBezTo>
                  <a:pt x="1628" y="806"/>
                  <a:pt x="1627" y="806"/>
                  <a:pt x="1626" y="806"/>
                </a:cubicBezTo>
                <a:cubicBezTo>
                  <a:pt x="1625" y="805"/>
                  <a:pt x="1625" y="805"/>
                  <a:pt x="1625" y="805"/>
                </a:cubicBezTo>
                <a:cubicBezTo>
                  <a:pt x="1617" y="805"/>
                  <a:pt x="1617" y="805"/>
                  <a:pt x="1617" y="805"/>
                </a:cubicBezTo>
                <a:cubicBezTo>
                  <a:pt x="1614" y="805"/>
                  <a:pt x="1614" y="805"/>
                  <a:pt x="1614" y="805"/>
                </a:cubicBezTo>
                <a:cubicBezTo>
                  <a:pt x="1617" y="802"/>
                  <a:pt x="1617" y="802"/>
                  <a:pt x="1617" y="802"/>
                </a:cubicBezTo>
                <a:cubicBezTo>
                  <a:pt x="1614" y="799"/>
                  <a:pt x="1609" y="798"/>
                  <a:pt x="1603" y="798"/>
                </a:cubicBezTo>
                <a:cubicBezTo>
                  <a:pt x="1602" y="796"/>
                  <a:pt x="1602" y="796"/>
                  <a:pt x="1602" y="796"/>
                </a:cubicBezTo>
                <a:cubicBezTo>
                  <a:pt x="1597" y="795"/>
                  <a:pt x="1597" y="795"/>
                  <a:pt x="1597" y="795"/>
                </a:cubicBezTo>
                <a:cubicBezTo>
                  <a:pt x="1579" y="798"/>
                  <a:pt x="1579" y="798"/>
                  <a:pt x="1579" y="798"/>
                </a:cubicBezTo>
                <a:cubicBezTo>
                  <a:pt x="1575" y="794"/>
                  <a:pt x="1575" y="794"/>
                  <a:pt x="1575" y="794"/>
                </a:cubicBezTo>
                <a:cubicBezTo>
                  <a:pt x="1575" y="792"/>
                  <a:pt x="1575" y="792"/>
                  <a:pt x="1575" y="792"/>
                </a:cubicBezTo>
                <a:cubicBezTo>
                  <a:pt x="1570" y="788"/>
                  <a:pt x="1570" y="788"/>
                  <a:pt x="1570" y="788"/>
                </a:cubicBezTo>
                <a:cubicBezTo>
                  <a:pt x="1566" y="790"/>
                  <a:pt x="1566" y="790"/>
                  <a:pt x="1566" y="790"/>
                </a:cubicBezTo>
                <a:cubicBezTo>
                  <a:pt x="1564" y="789"/>
                  <a:pt x="1564" y="789"/>
                  <a:pt x="1564" y="789"/>
                </a:cubicBezTo>
                <a:cubicBezTo>
                  <a:pt x="1564" y="786"/>
                  <a:pt x="1564" y="786"/>
                  <a:pt x="1564" y="786"/>
                </a:cubicBezTo>
                <a:cubicBezTo>
                  <a:pt x="1563" y="785"/>
                  <a:pt x="1563" y="785"/>
                  <a:pt x="1563" y="785"/>
                </a:cubicBezTo>
                <a:cubicBezTo>
                  <a:pt x="1559" y="787"/>
                  <a:pt x="1559" y="787"/>
                  <a:pt x="1559" y="787"/>
                </a:cubicBezTo>
                <a:cubicBezTo>
                  <a:pt x="1559" y="785"/>
                  <a:pt x="1559" y="785"/>
                  <a:pt x="1559" y="785"/>
                </a:cubicBezTo>
                <a:cubicBezTo>
                  <a:pt x="1560" y="782"/>
                  <a:pt x="1560" y="782"/>
                  <a:pt x="1560" y="782"/>
                </a:cubicBezTo>
                <a:cubicBezTo>
                  <a:pt x="1559" y="778"/>
                  <a:pt x="1559" y="778"/>
                  <a:pt x="1559" y="778"/>
                </a:cubicBezTo>
                <a:cubicBezTo>
                  <a:pt x="1554" y="776"/>
                  <a:pt x="1554" y="776"/>
                  <a:pt x="1554" y="776"/>
                </a:cubicBezTo>
                <a:cubicBezTo>
                  <a:pt x="1552" y="776"/>
                  <a:pt x="1552" y="776"/>
                  <a:pt x="1552" y="776"/>
                </a:cubicBezTo>
                <a:cubicBezTo>
                  <a:pt x="1551" y="776"/>
                  <a:pt x="1550" y="775"/>
                  <a:pt x="1550" y="775"/>
                </a:cubicBezTo>
                <a:cubicBezTo>
                  <a:pt x="1551" y="775"/>
                  <a:pt x="1551" y="775"/>
                  <a:pt x="1551" y="775"/>
                </a:cubicBezTo>
                <a:cubicBezTo>
                  <a:pt x="1551" y="774"/>
                  <a:pt x="1551" y="774"/>
                  <a:pt x="1551" y="774"/>
                </a:cubicBezTo>
                <a:cubicBezTo>
                  <a:pt x="1551" y="773"/>
                  <a:pt x="1552" y="773"/>
                  <a:pt x="1553" y="773"/>
                </a:cubicBezTo>
                <a:cubicBezTo>
                  <a:pt x="1554" y="768"/>
                  <a:pt x="1554" y="768"/>
                  <a:pt x="1554" y="768"/>
                </a:cubicBezTo>
                <a:cubicBezTo>
                  <a:pt x="1562" y="765"/>
                  <a:pt x="1562" y="765"/>
                  <a:pt x="1562" y="765"/>
                </a:cubicBezTo>
                <a:cubicBezTo>
                  <a:pt x="1563" y="762"/>
                  <a:pt x="1563" y="762"/>
                  <a:pt x="1563" y="762"/>
                </a:cubicBezTo>
                <a:cubicBezTo>
                  <a:pt x="1560" y="761"/>
                  <a:pt x="1560" y="761"/>
                  <a:pt x="1560" y="761"/>
                </a:cubicBezTo>
                <a:cubicBezTo>
                  <a:pt x="1558" y="757"/>
                  <a:pt x="1558" y="757"/>
                  <a:pt x="1558" y="757"/>
                </a:cubicBezTo>
                <a:cubicBezTo>
                  <a:pt x="1556" y="757"/>
                  <a:pt x="1556" y="757"/>
                  <a:pt x="1556" y="757"/>
                </a:cubicBezTo>
                <a:cubicBezTo>
                  <a:pt x="1553" y="753"/>
                  <a:pt x="1553" y="753"/>
                  <a:pt x="1553" y="753"/>
                </a:cubicBezTo>
                <a:cubicBezTo>
                  <a:pt x="1552" y="745"/>
                  <a:pt x="1552" y="745"/>
                  <a:pt x="1552" y="745"/>
                </a:cubicBezTo>
                <a:cubicBezTo>
                  <a:pt x="1551" y="743"/>
                  <a:pt x="1551" y="743"/>
                  <a:pt x="1551" y="743"/>
                </a:cubicBezTo>
                <a:cubicBezTo>
                  <a:pt x="1556" y="736"/>
                  <a:pt x="1556" y="736"/>
                  <a:pt x="1556" y="736"/>
                </a:cubicBezTo>
                <a:cubicBezTo>
                  <a:pt x="1556" y="731"/>
                  <a:pt x="1556" y="731"/>
                  <a:pt x="1556" y="731"/>
                </a:cubicBezTo>
                <a:cubicBezTo>
                  <a:pt x="1557" y="723"/>
                  <a:pt x="1557" y="723"/>
                  <a:pt x="1557" y="723"/>
                </a:cubicBezTo>
                <a:cubicBezTo>
                  <a:pt x="1559" y="721"/>
                  <a:pt x="1559" y="721"/>
                  <a:pt x="1559" y="721"/>
                </a:cubicBezTo>
                <a:cubicBezTo>
                  <a:pt x="1559" y="716"/>
                  <a:pt x="1559" y="716"/>
                  <a:pt x="1559" y="716"/>
                </a:cubicBezTo>
                <a:cubicBezTo>
                  <a:pt x="1557" y="715"/>
                  <a:pt x="1557" y="715"/>
                  <a:pt x="1557" y="715"/>
                </a:cubicBezTo>
                <a:cubicBezTo>
                  <a:pt x="1556" y="706"/>
                  <a:pt x="1556" y="706"/>
                  <a:pt x="1556" y="706"/>
                </a:cubicBezTo>
                <a:cubicBezTo>
                  <a:pt x="1554" y="703"/>
                  <a:pt x="1551" y="702"/>
                  <a:pt x="1547" y="701"/>
                </a:cubicBezTo>
                <a:cubicBezTo>
                  <a:pt x="1546" y="701"/>
                  <a:pt x="1545" y="701"/>
                  <a:pt x="1544" y="701"/>
                </a:cubicBezTo>
                <a:cubicBezTo>
                  <a:pt x="1542" y="697"/>
                  <a:pt x="1542" y="697"/>
                  <a:pt x="1542" y="697"/>
                </a:cubicBezTo>
                <a:cubicBezTo>
                  <a:pt x="1539" y="697"/>
                  <a:pt x="1539" y="697"/>
                  <a:pt x="1539" y="697"/>
                </a:cubicBezTo>
                <a:cubicBezTo>
                  <a:pt x="1539" y="697"/>
                  <a:pt x="1540" y="697"/>
                  <a:pt x="1540" y="697"/>
                </a:cubicBezTo>
                <a:cubicBezTo>
                  <a:pt x="1540" y="698"/>
                  <a:pt x="1539" y="698"/>
                  <a:pt x="1539" y="699"/>
                </a:cubicBezTo>
                <a:cubicBezTo>
                  <a:pt x="1539" y="699"/>
                  <a:pt x="1539" y="699"/>
                  <a:pt x="1538" y="699"/>
                </a:cubicBezTo>
                <a:cubicBezTo>
                  <a:pt x="1536" y="699"/>
                  <a:pt x="1536" y="699"/>
                  <a:pt x="1536" y="699"/>
                </a:cubicBezTo>
                <a:cubicBezTo>
                  <a:pt x="1534" y="704"/>
                  <a:pt x="1534" y="704"/>
                  <a:pt x="1534" y="704"/>
                </a:cubicBezTo>
                <a:cubicBezTo>
                  <a:pt x="1532" y="702"/>
                  <a:pt x="1532" y="702"/>
                  <a:pt x="1532" y="702"/>
                </a:cubicBezTo>
                <a:cubicBezTo>
                  <a:pt x="1522" y="707"/>
                  <a:pt x="1522" y="707"/>
                  <a:pt x="1522" y="707"/>
                </a:cubicBezTo>
                <a:cubicBezTo>
                  <a:pt x="1510" y="709"/>
                  <a:pt x="1510" y="709"/>
                  <a:pt x="1510" y="709"/>
                </a:cubicBezTo>
                <a:cubicBezTo>
                  <a:pt x="1508" y="711"/>
                  <a:pt x="1508" y="711"/>
                  <a:pt x="1508" y="711"/>
                </a:cubicBezTo>
                <a:cubicBezTo>
                  <a:pt x="1504" y="710"/>
                  <a:pt x="1504" y="710"/>
                  <a:pt x="1504" y="710"/>
                </a:cubicBezTo>
                <a:cubicBezTo>
                  <a:pt x="1502" y="713"/>
                  <a:pt x="1502" y="713"/>
                  <a:pt x="1502" y="713"/>
                </a:cubicBezTo>
                <a:cubicBezTo>
                  <a:pt x="1503" y="716"/>
                  <a:pt x="1503" y="716"/>
                  <a:pt x="1503" y="716"/>
                </a:cubicBezTo>
                <a:cubicBezTo>
                  <a:pt x="1508" y="719"/>
                  <a:pt x="1508" y="719"/>
                  <a:pt x="1508" y="719"/>
                </a:cubicBezTo>
                <a:cubicBezTo>
                  <a:pt x="1507" y="719"/>
                  <a:pt x="1507" y="719"/>
                  <a:pt x="1507" y="720"/>
                </a:cubicBezTo>
                <a:cubicBezTo>
                  <a:pt x="1506" y="721"/>
                  <a:pt x="1507" y="721"/>
                  <a:pt x="1508" y="723"/>
                </a:cubicBezTo>
                <a:cubicBezTo>
                  <a:pt x="1507" y="723"/>
                  <a:pt x="1507" y="723"/>
                  <a:pt x="1507" y="723"/>
                </a:cubicBezTo>
                <a:cubicBezTo>
                  <a:pt x="1507" y="723"/>
                  <a:pt x="1506" y="723"/>
                  <a:pt x="1506" y="724"/>
                </a:cubicBezTo>
                <a:cubicBezTo>
                  <a:pt x="1505" y="726"/>
                  <a:pt x="1505" y="726"/>
                  <a:pt x="1505" y="726"/>
                </a:cubicBezTo>
                <a:cubicBezTo>
                  <a:pt x="1503" y="733"/>
                  <a:pt x="1503" y="733"/>
                  <a:pt x="1503" y="733"/>
                </a:cubicBezTo>
                <a:cubicBezTo>
                  <a:pt x="1502" y="733"/>
                  <a:pt x="1502" y="733"/>
                  <a:pt x="1502" y="734"/>
                </a:cubicBezTo>
                <a:cubicBezTo>
                  <a:pt x="1502" y="734"/>
                  <a:pt x="1502" y="735"/>
                  <a:pt x="1502" y="735"/>
                </a:cubicBezTo>
                <a:cubicBezTo>
                  <a:pt x="1499" y="738"/>
                  <a:pt x="1499" y="738"/>
                  <a:pt x="1499" y="738"/>
                </a:cubicBezTo>
                <a:cubicBezTo>
                  <a:pt x="1498" y="741"/>
                  <a:pt x="1498" y="741"/>
                  <a:pt x="1498" y="741"/>
                </a:cubicBezTo>
                <a:cubicBezTo>
                  <a:pt x="1497" y="742"/>
                  <a:pt x="1497" y="742"/>
                  <a:pt x="1497" y="742"/>
                </a:cubicBezTo>
                <a:cubicBezTo>
                  <a:pt x="1496" y="745"/>
                  <a:pt x="1496" y="745"/>
                  <a:pt x="1496" y="745"/>
                </a:cubicBezTo>
                <a:cubicBezTo>
                  <a:pt x="1498" y="748"/>
                  <a:pt x="1498" y="748"/>
                  <a:pt x="1498" y="748"/>
                </a:cubicBezTo>
                <a:cubicBezTo>
                  <a:pt x="1498" y="751"/>
                  <a:pt x="1498" y="751"/>
                  <a:pt x="1498" y="751"/>
                </a:cubicBezTo>
                <a:cubicBezTo>
                  <a:pt x="1496" y="752"/>
                  <a:pt x="1496" y="752"/>
                  <a:pt x="1496" y="752"/>
                </a:cubicBezTo>
                <a:cubicBezTo>
                  <a:pt x="1495" y="761"/>
                  <a:pt x="1495" y="761"/>
                  <a:pt x="1495" y="761"/>
                </a:cubicBezTo>
                <a:cubicBezTo>
                  <a:pt x="1495" y="765"/>
                  <a:pt x="1495" y="765"/>
                  <a:pt x="1495" y="765"/>
                </a:cubicBezTo>
                <a:cubicBezTo>
                  <a:pt x="1493" y="766"/>
                  <a:pt x="1493" y="766"/>
                  <a:pt x="1493" y="766"/>
                </a:cubicBezTo>
                <a:cubicBezTo>
                  <a:pt x="1492" y="775"/>
                  <a:pt x="1492" y="775"/>
                  <a:pt x="1492" y="775"/>
                </a:cubicBezTo>
                <a:cubicBezTo>
                  <a:pt x="1494" y="777"/>
                  <a:pt x="1494" y="777"/>
                  <a:pt x="1494" y="777"/>
                </a:cubicBezTo>
                <a:cubicBezTo>
                  <a:pt x="1495" y="781"/>
                  <a:pt x="1495" y="781"/>
                  <a:pt x="1495" y="781"/>
                </a:cubicBezTo>
                <a:cubicBezTo>
                  <a:pt x="1498" y="781"/>
                  <a:pt x="1498" y="781"/>
                  <a:pt x="1498" y="781"/>
                </a:cubicBezTo>
                <a:cubicBezTo>
                  <a:pt x="1502" y="785"/>
                  <a:pt x="1502" y="785"/>
                  <a:pt x="1502" y="785"/>
                </a:cubicBezTo>
                <a:cubicBezTo>
                  <a:pt x="1502" y="788"/>
                  <a:pt x="1502" y="788"/>
                  <a:pt x="1502" y="788"/>
                </a:cubicBezTo>
                <a:cubicBezTo>
                  <a:pt x="1503" y="792"/>
                  <a:pt x="1503" y="792"/>
                  <a:pt x="1503" y="792"/>
                </a:cubicBezTo>
                <a:cubicBezTo>
                  <a:pt x="1506" y="793"/>
                  <a:pt x="1506" y="793"/>
                  <a:pt x="1506" y="793"/>
                </a:cubicBezTo>
                <a:cubicBezTo>
                  <a:pt x="1506" y="796"/>
                  <a:pt x="1506" y="799"/>
                  <a:pt x="1506" y="802"/>
                </a:cubicBezTo>
                <a:cubicBezTo>
                  <a:pt x="1506" y="805"/>
                  <a:pt x="1505" y="809"/>
                  <a:pt x="1505" y="812"/>
                </a:cubicBezTo>
                <a:cubicBezTo>
                  <a:pt x="1503" y="817"/>
                  <a:pt x="1503" y="817"/>
                  <a:pt x="1503" y="817"/>
                </a:cubicBezTo>
                <a:cubicBezTo>
                  <a:pt x="1502" y="817"/>
                  <a:pt x="1502" y="817"/>
                  <a:pt x="1502" y="817"/>
                </a:cubicBezTo>
                <a:cubicBezTo>
                  <a:pt x="1501" y="817"/>
                  <a:pt x="1501" y="817"/>
                  <a:pt x="1501" y="818"/>
                </a:cubicBezTo>
                <a:cubicBezTo>
                  <a:pt x="1500" y="821"/>
                  <a:pt x="1500" y="821"/>
                  <a:pt x="1500" y="821"/>
                </a:cubicBezTo>
                <a:cubicBezTo>
                  <a:pt x="1500" y="824"/>
                  <a:pt x="1500" y="824"/>
                  <a:pt x="1500" y="824"/>
                </a:cubicBezTo>
                <a:cubicBezTo>
                  <a:pt x="1500" y="829"/>
                  <a:pt x="1500" y="829"/>
                  <a:pt x="1500" y="829"/>
                </a:cubicBezTo>
                <a:cubicBezTo>
                  <a:pt x="1496" y="831"/>
                  <a:pt x="1496" y="831"/>
                  <a:pt x="1496" y="831"/>
                </a:cubicBezTo>
                <a:cubicBezTo>
                  <a:pt x="1494" y="834"/>
                  <a:pt x="1494" y="834"/>
                  <a:pt x="1494" y="834"/>
                </a:cubicBezTo>
                <a:cubicBezTo>
                  <a:pt x="1486" y="828"/>
                  <a:pt x="1486" y="828"/>
                  <a:pt x="1486" y="828"/>
                </a:cubicBezTo>
                <a:cubicBezTo>
                  <a:pt x="1485" y="823"/>
                  <a:pt x="1485" y="823"/>
                  <a:pt x="1485" y="823"/>
                </a:cubicBezTo>
                <a:cubicBezTo>
                  <a:pt x="1481" y="827"/>
                  <a:pt x="1481" y="827"/>
                  <a:pt x="1481" y="827"/>
                </a:cubicBezTo>
                <a:cubicBezTo>
                  <a:pt x="1478" y="826"/>
                  <a:pt x="1478" y="826"/>
                  <a:pt x="1478" y="826"/>
                </a:cubicBezTo>
                <a:cubicBezTo>
                  <a:pt x="1478" y="825"/>
                  <a:pt x="1477" y="825"/>
                  <a:pt x="1477" y="825"/>
                </a:cubicBezTo>
                <a:cubicBezTo>
                  <a:pt x="1476" y="825"/>
                  <a:pt x="1476" y="826"/>
                  <a:pt x="1476" y="827"/>
                </a:cubicBezTo>
                <a:cubicBezTo>
                  <a:pt x="1475" y="830"/>
                  <a:pt x="1475" y="830"/>
                  <a:pt x="1475" y="830"/>
                </a:cubicBezTo>
                <a:cubicBezTo>
                  <a:pt x="1472" y="829"/>
                  <a:pt x="1472" y="829"/>
                  <a:pt x="1472" y="829"/>
                </a:cubicBezTo>
                <a:cubicBezTo>
                  <a:pt x="1470" y="828"/>
                  <a:pt x="1470" y="828"/>
                  <a:pt x="1470" y="828"/>
                </a:cubicBezTo>
                <a:cubicBezTo>
                  <a:pt x="1467" y="830"/>
                  <a:pt x="1467" y="830"/>
                  <a:pt x="1467" y="830"/>
                </a:cubicBezTo>
                <a:cubicBezTo>
                  <a:pt x="1464" y="832"/>
                  <a:pt x="1461" y="832"/>
                  <a:pt x="1458" y="830"/>
                </a:cubicBezTo>
                <a:cubicBezTo>
                  <a:pt x="1457" y="829"/>
                  <a:pt x="1456" y="828"/>
                  <a:pt x="1455" y="827"/>
                </a:cubicBezTo>
                <a:cubicBezTo>
                  <a:pt x="1446" y="829"/>
                  <a:pt x="1446" y="829"/>
                  <a:pt x="1446" y="829"/>
                </a:cubicBezTo>
                <a:cubicBezTo>
                  <a:pt x="1444" y="833"/>
                  <a:pt x="1444" y="833"/>
                  <a:pt x="1444" y="833"/>
                </a:cubicBezTo>
                <a:cubicBezTo>
                  <a:pt x="1439" y="832"/>
                  <a:pt x="1439" y="832"/>
                  <a:pt x="1439" y="832"/>
                </a:cubicBezTo>
                <a:cubicBezTo>
                  <a:pt x="1438" y="832"/>
                  <a:pt x="1438" y="832"/>
                  <a:pt x="1438" y="832"/>
                </a:cubicBezTo>
                <a:cubicBezTo>
                  <a:pt x="1438" y="831"/>
                  <a:pt x="1438" y="831"/>
                  <a:pt x="1438" y="830"/>
                </a:cubicBezTo>
                <a:cubicBezTo>
                  <a:pt x="1429" y="830"/>
                  <a:pt x="1429" y="830"/>
                  <a:pt x="1429" y="830"/>
                </a:cubicBezTo>
                <a:cubicBezTo>
                  <a:pt x="1424" y="825"/>
                  <a:pt x="1424" y="825"/>
                  <a:pt x="1424" y="825"/>
                </a:cubicBezTo>
                <a:cubicBezTo>
                  <a:pt x="1422" y="816"/>
                  <a:pt x="1422" y="816"/>
                  <a:pt x="1422" y="816"/>
                </a:cubicBezTo>
                <a:cubicBezTo>
                  <a:pt x="1419" y="819"/>
                  <a:pt x="1419" y="819"/>
                  <a:pt x="1419" y="819"/>
                </a:cubicBezTo>
                <a:cubicBezTo>
                  <a:pt x="1414" y="821"/>
                  <a:pt x="1414" y="821"/>
                  <a:pt x="1414" y="821"/>
                </a:cubicBezTo>
                <a:cubicBezTo>
                  <a:pt x="1412" y="823"/>
                  <a:pt x="1412" y="823"/>
                  <a:pt x="1412" y="823"/>
                </a:cubicBezTo>
                <a:cubicBezTo>
                  <a:pt x="1410" y="823"/>
                  <a:pt x="1410" y="823"/>
                  <a:pt x="1410" y="823"/>
                </a:cubicBezTo>
                <a:cubicBezTo>
                  <a:pt x="1409" y="825"/>
                  <a:pt x="1409" y="825"/>
                  <a:pt x="1409" y="825"/>
                </a:cubicBezTo>
                <a:cubicBezTo>
                  <a:pt x="1405" y="827"/>
                  <a:pt x="1405" y="827"/>
                  <a:pt x="1405" y="827"/>
                </a:cubicBezTo>
                <a:cubicBezTo>
                  <a:pt x="1400" y="827"/>
                  <a:pt x="1400" y="827"/>
                  <a:pt x="1400" y="827"/>
                </a:cubicBezTo>
                <a:cubicBezTo>
                  <a:pt x="1396" y="828"/>
                  <a:pt x="1396" y="828"/>
                  <a:pt x="1396" y="828"/>
                </a:cubicBezTo>
                <a:cubicBezTo>
                  <a:pt x="1390" y="825"/>
                  <a:pt x="1390" y="825"/>
                  <a:pt x="1390" y="825"/>
                </a:cubicBezTo>
                <a:cubicBezTo>
                  <a:pt x="1390" y="825"/>
                  <a:pt x="1390" y="825"/>
                  <a:pt x="1390" y="825"/>
                </a:cubicBezTo>
                <a:cubicBezTo>
                  <a:pt x="1390" y="825"/>
                  <a:pt x="1389" y="824"/>
                  <a:pt x="1389" y="823"/>
                </a:cubicBezTo>
                <a:cubicBezTo>
                  <a:pt x="1384" y="822"/>
                  <a:pt x="1384" y="822"/>
                  <a:pt x="1384" y="822"/>
                </a:cubicBezTo>
                <a:cubicBezTo>
                  <a:pt x="1383" y="820"/>
                  <a:pt x="1383" y="820"/>
                  <a:pt x="1383" y="820"/>
                </a:cubicBezTo>
                <a:cubicBezTo>
                  <a:pt x="1375" y="816"/>
                  <a:pt x="1375" y="816"/>
                  <a:pt x="1375" y="816"/>
                </a:cubicBezTo>
                <a:cubicBezTo>
                  <a:pt x="1373" y="816"/>
                  <a:pt x="1373" y="816"/>
                  <a:pt x="1373" y="816"/>
                </a:cubicBezTo>
                <a:cubicBezTo>
                  <a:pt x="1370" y="814"/>
                  <a:pt x="1367" y="813"/>
                  <a:pt x="1364" y="813"/>
                </a:cubicBezTo>
                <a:cubicBezTo>
                  <a:pt x="1363" y="814"/>
                  <a:pt x="1361" y="814"/>
                  <a:pt x="1360" y="814"/>
                </a:cubicBezTo>
                <a:cubicBezTo>
                  <a:pt x="1360" y="815"/>
                  <a:pt x="1360" y="815"/>
                  <a:pt x="1359" y="815"/>
                </a:cubicBezTo>
                <a:cubicBezTo>
                  <a:pt x="1359" y="815"/>
                  <a:pt x="1358" y="815"/>
                  <a:pt x="1357" y="814"/>
                </a:cubicBezTo>
                <a:cubicBezTo>
                  <a:pt x="1345" y="809"/>
                  <a:pt x="1345" y="809"/>
                  <a:pt x="1345" y="809"/>
                </a:cubicBezTo>
                <a:cubicBezTo>
                  <a:pt x="1340" y="811"/>
                  <a:pt x="1340" y="811"/>
                  <a:pt x="1340" y="811"/>
                </a:cubicBezTo>
                <a:cubicBezTo>
                  <a:pt x="1338" y="813"/>
                  <a:pt x="1338" y="813"/>
                  <a:pt x="1338" y="813"/>
                </a:cubicBezTo>
                <a:cubicBezTo>
                  <a:pt x="1334" y="816"/>
                  <a:pt x="1334" y="816"/>
                  <a:pt x="1334" y="816"/>
                </a:cubicBezTo>
                <a:cubicBezTo>
                  <a:pt x="1332" y="817"/>
                  <a:pt x="1332" y="817"/>
                  <a:pt x="1332" y="817"/>
                </a:cubicBezTo>
                <a:cubicBezTo>
                  <a:pt x="1332" y="817"/>
                  <a:pt x="1331" y="817"/>
                  <a:pt x="1331" y="817"/>
                </a:cubicBezTo>
                <a:cubicBezTo>
                  <a:pt x="1331" y="816"/>
                  <a:pt x="1331" y="816"/>
                  <a:pt x="1331" y="815"/>
                </a:cubicBezTo>
                <a:cubicBezTo>
                  <a:pt x="1330" y="813"/>
                  <a:pt x="1330" y="813"/>
                  <a:pt x="1330" y="813"/>
                </a:cubicBezTo>
                <a:cubicBezTo>
                  <a:pt x="1323" y="811"/>
                  <a:pt x="1323" y="811"/>
                  <a:pt x="1323" y="811"/>
                </a:cubicBezTo>
                <a:cubicBezTo>
                  <a:pt x="1321" y="798"/>
                  <a:pt x="1321" y="798"/>
                  <a:pt x="1321" y="798"/>
                </a:cubicBezTo>
                <a:cubicBezTo>
                  <a:pt x="1315" y="793"/>
                  <a:pt x="1315" y="793"/>
                  <a:pt x="1315" y="793"/>
                </a:cubicBezTo>
                <a:cubicBezTo>
                  <a:pt x="1314" y="793"/>
                  <a:pt x="1314" y="793"/>
                  <a:pt x="1314" y="793"/>
                </a:cubicBezTo>
                <a:cubicBezTo>
                  <a:pt x="1313" y="792"/>
                  <a:pt x="1312" y="793"/>
                  <a:pt x="1312" y="795"/>
                </a:cubicBezTo>
                <a:cubicBezTo>
                  <a:pt x="1310" y="794"/>
                  <a:pt x="1310" y="794"/>
                  <a:pt x="1310" y="794"/>
                </a:cubicBezTo>
                <a:cubicBezTo>
                  <a:pt x="1303" y="800"/>
                  <a:pt x="1303" y="800"/>
                  <a:pt x="1303" y="800"/>
                </a:cubicBezTo>
                <a:cubicBezTo>
                  <a:pt x="1292" y="803"/>
                  <a:pt x="1292" y="803"/>
                  <a:pt x="1292" y="803"/>
                </a:cubicBezTo>
                <a:cubicBezTo>
                  <a:pt x="1285" y="801"/>
                  <a:pt x="1285" y="801"/>
                  <a:pt x="1285" y="801"/>
                </a:cubicBezTo>
                <a:cubicBezTo>
                  <a:pt x="1283" y="802"/>
                  <a:pt x="1283" y="802"/>
                  <a:pt x="1283" y="802"/>
                </a:cubicBezTo>
                <a:cubicBezTo>
                  <a:pt x="1281" y="799"/>
                  <a:pt x="1281" y="799"/>
                  <a:pt x="1281" y="799"/>
                </a:cubicBezTo>
                <a:cubicBezTo>
                  <a:pt x="1281" y="795"/>
                  <a:pt x="1281" y="795"/>
                  <a:pt x="1281" y="795"/>
                </a:cubicBezTo>
                <a:cubicBezTo>
                  <a:pt x="1269" y="795"/>
                  <a:pt x="1269" y="795"/>
                  <a:pt x="1269" y="795"/>
                </a:cubicBezTo>
                <a:cubicBezTo>
                  <a:pt x="1271" y="792"/>
                  <a:pt x="1271" y="792"/>
                  <a:pt x="1271" y="792"/>
                </a:cubicBezTo>
                <a:cubicBezTo>
                  <a:pt x="1265" y="791"/>
                  <a:pt x="1265" y="791"/>
                  <a:pt x="1265" y="791"/>
                </a:cubicBezTo>
                <a:cubicBezTo>
                  <a:pt x="1266" y="788"/>
                  <a:pt x="1266" y="788"/>
                  <a:pt x="1266" y="788"/>
                </a:cubicBezTo>
                <a:cubicBezTo>
                  <a:pt x="1254" y="782"/>
                  <a:pt x="1254" y="782"/>
                  <a:pt x="1254" y="782"/>
                </a:cubicBezTo>
                <a:cubicBezTo>
                  <a:pt x="1252" y="783"/>
                  <a:pt x="1252" y="783"/>
                  <a:pt x="1252" y="783"/>
                </a:cubicBezTo>
                <a:cubicBezTo>
                  <a:pt x="1248" y="783"/>
                  <a:pt x="1248" y="783"/>
                  <a:pt x="1248" y="783"/>
                </a:cubicBezTo>
                <a:cubicBezTo>
                  <a:pt x="1241" y="781"/>
                  <a:pt x="1241" y="781"/>
                  <a:pt x="1241" y="781"/>
                </a:cubicBezTo>
                <a:cubicBezTo>
                  <a:pt x="1244" y="768"/>
                  <a:pt x="1244" y="768"/>
                  <a:pt x="1244" y="768"/>
                </a:cubicBezTo>
                <a:cubicBezTo>
                  <a:pt x="1240" y="760"/>
                  <a:pt x="1240" y="760"/>
                  <a:pt x="1240" y="760"/>
                </a:cubicBezTo>
                <a:cubicBezTo>
                  <a:pt x="1233" y="757"/>
                  <a:pt x="1227" y="755"/>
                  <a:pt x="1220" y="755"/>
                </a:cubicBezTo>
                <a:cubicBezTo>
                  <a:pt x="1218" y="755"/>
                  <a:pt x="1215" y="754"/>
                  <a:pt x="1213" y="754"/>
                </a:cubicBezTo>
                <a:cubicBezTo>
                  <a:pt x="1212" y="751"/>
                  <a:pt x="1212" y="751"/>
                  <a:pt x="1212" y="751"/>
                </a:cubicBezTo>
                <a:cubicBezTo>
                  <a:pt x="1209" y="749"/>
                  <a:pt x="1209" y="749"/>
                  <a:pt x="1209" y="749"/>
                </a:cubicBezTo>
                <a:cubicBezTo>
                  <a:pt x="1208" y="749"/>
                  <a:pt x="1208" y="749"/>
                  <a:pt x="1208" y="749"/>
                </a:cubicBezTo>
                <a:cubicBezTo>
                  <a:pt x="1208" y="749"/>
                  <a:pt x="1208" y="748"/>
                  <a:pt x="1207" y="747"/>
                </a:cubicBezTo>
                <a:cubicBezTo>
                  <a:pt x="1206" y="747"/>
                  <a:pt x="1206" y="747"/>
                  <a:pt x="1206" y="747"/>
                </a:cubicBezTo>
                <a:cubicBezTo>
                  <a:pt x="1205" y="747"/>
                  <a:pt x="1205" y="747"/>
                  <a:pt x="1204" y="746"/>
                </a:cubicBezTo>
                <a:cubicBezTo>
                  <a:pt x="1202" y="744"/>
                  <a:pt x="1202" y="744"/>
                  <a:pt x="1202" y="744"/>
                </a:cubicBezTo>
                <a:cubicBezTo>
                  <a:pt x="1200" y="744"/>
                  <a:pt x="1200" y="744"/>
                  <a:pt x="1200" y="744"/>
                </a:cubicBezTo>
                <a:cubicBezTo>
                  <a:pt x="1196" y="747"/>
                  <a:pt x="1196" y="747"/>
                  <a:pt x="1196" y="747"/>
                </a:cubicBezTo>
                <a:cubicBezTo>
                  <a:pt x="1196" y="749"/>
                  <a:pt x="1196" y="749"/>
                  <a:pt x="1196" y="749"/>
                </a:cubicBezTo>
                <a:cubicBezTo>
                  <a:pt x="1193" y="751"/>
                  <a:pt x="1193" y="751"/>
                  <a:pt x="1193" y="751"/>
                </a:cubicBezTo>
                <a:cubicBezTo>
                  <a:pt x="1186" y="749"/>
                  <a:pt x="1186" y="749"/>
                  <a:pt x="1186" y="749"/>
                </a:cubicBezTo>
                <a:cubicBezTo>
                  <a:pt x="1180" y="751"/>
                  <a:pt x="1180" y="751"/>
                  <a:pt x="1180" y="751"/>
                </a:cubicBezTo>
                <a:cubicBezTo>
                  <a:pt x="1183" y="755"/>
                  <a:pt x="1183" y="755"/>
                  <a:pt x="1183" y="755"/>
                </a:cubicBezTo>
                <a:cubicBezTo>
                  <a:pt x="1172" y="751"/>
                  <a:pt x="1160" y="748"/>
                  <a:pt x="1146" y="747"/>
                </a:cubicBezTo>
                <a:cubicBezTo>
                  <a:pt x="1145" y="751"/>
                  <a:pt x="1145" y="751"/>
                  <a:pt x="1145" y="751"/>
                </a:cubicBezTo>
                <a:cubicBezTo>
                  <a:pt x="1147" y="752"/>
                  <a:pt x="1147" y="752"/>
                  <a:pt x="1147" y="752"/>
                </a:cubicBezTo>
                <a:cubicBezTo>
                  <a:pt x="1144" y="757"/>
                  <a:pt x="1144" y="757"/>
                  <a:pt x="1144" y="757"/>
                </a:cubicBezTo>
                <a:cubicBezTo>
                  <a:pt x="1140" y="758"/>
                  <a:pt x="1140" y="758"/>
                  <a:pt x="1140" y="758"/>
                </a:cubicBezTo>
                <a:cubicBezTo>
                  <a:pt x="1137" y="757"/>
                  <a:pt x="1137" y="757"/>
                  <a:pt x="1137" y="757"/>
                </a:cubicBezTo>
                <a:cubicBezTo>
                  <a:pt x="1136" y="753"/>
                  <a:pt x="1136" y="753"/>
                  <a:pt x="1136" y="753"/>
                </a:cubicBezTo>
                <a:cubicBezTo>
                  <a:pt x="1131" y="750"/>
                  <a:pt x="1131" y="750"/>
                  <a:pt x="1131" y="750"/>
                </a:cubicBezTo>
                <a:cubicBezTo>
                  <a:pt x="1114" y="747"/>
                  <a:pt x="1114" y="747"/>
                  <a:pt x="1114" y="747"/>
                </a:cubicBezTo>
                <a:cubicBezTo>
                  <a:pt x="1111" y="745"/>
                  <a:pt x="1111" y="745"/>
                  <a:pt x="1111" y="745"/>
                </a:cubicBezTo>
                <a:cubicBezTo>
                  <a:pt x="1104" y="745"/>
                  <a:pt x="1104" y="745"/>
                  <a:pt x="1104" y="745"/>
                </a:cubicBezTo>
                <a:cubicBezTo>
                  <a:pt x="1102" y="745"/>
                  <a:pt x="1102" y="745"/>
                  <a:pt x="1102" y="745"/>
                </a:cubicBezTo>
                <a:cubicBezTo>
                  <a:pt x="1098" y="745"/>
                  <a:pt x="1098" y="745"/>
                  <a:pt x="1098" y="745"/>
                </a:cubicBezTo>
                <a:cubicBezTo>
                  <a:pt x="1097" y="741"/>
                  <a:pt x="1097" y="741"/>
                  <a:pt x="1097" y="741"/>
                </a:cubicBezTo>
                <a:cubicBezTo>
                  <a:pt x="1098" y="737"/>
                  <a:pt x="1098" y="737"/>
                  <a:pt x="1098" y="737"/>
                </a:cubicBezTo>
                <a:cubicBezTo>
                  <a:pt x="1096" y="736"/>
                  <a:pt x="1096" y="736"/>
                  <a:pt x="1096" y="736"/>
                </a:cubicBezTo>
                <a:cubicBezTo>
                  <a:pt x="1096" y="733"/>
                  <a:pt x="1096" y="733"/>
                  <a:pt x="1096" y="733"/>
                </a:cubicBezTo>
                <a:cubicBezTo>
                  <a:pt x="1095" y="733"/>
                  <a:pt x="1095" y="733"/>
                  <a:pt x="1095" y="733"/>
                </a:cubicBezTo>
                <a:cubicBezTo>
                  <a:pt x="1096" y="730"/>
                  <a:pt x="1096" y="730"/>
                  <a:pt x="1096" y="730"/>
                </a:cubicBezTo>
                <a:cubicBezTo>
                  <a:pt x="1094" y="729"/>
                  <a:pt x="1094" y="729"/>
                  <a:pt x="1094" y="729"/>
                </a:cubicBezTo>
                <a:cubicBezTo>
                  <a:pt x="1077" y="731"/>
                  <a:pt x="1077" y="731"/>
                  <a:pt x="1077" y="731"/>
                </a:cubicBezTo>
                <a:cubicBezTo>
                  <a:pt x="1050" y="717"/>
                  <a:pt x="1050" y="717"/>
                  <a:pt x="1050" y="717"/>
                </a:cubicBezTo>
                <a:cubicBezTo>
                  <a:pt x="1048" y="713"/>
                  <a:pt x="1048" y="713"/>
                  <a:pt x="1048" y="713"/>
                </a:cubicBezTo>
                <a:cubicBezTo>
                  <a:pt x="1038" y="712"/>
                  <a:pt x="1038" y="712"/>
                  <a:pt x="1038" y="712"/>
                </a:cubicBezTo>
                <a:cubicBezTo>
                  <a:pt x="1035" y="717"/>
                  <a:pt x="1035" y="717"/>
                  <a:pt x="1035" y="717"/>
                </a:cubicBezTo>
                <a:cubicBezTo>
                  <a:pt x="1032" y="717"/>
                  <a:pt x="1032" y="717"/>
                  <a:pt x="1032" y="717"/>
                </a:cubicBezTo>
                <a:cubicBezTo>
                  <a:pt x="1024" y="711"/>
                  <a:pt x="1014" y="705"/>
                  <a:pt x="1002" y="701"/>
                </a:cubicBezTo>
                <a:cubicBezTo>
                  <a:pt x="1002" y="697"/>
                  <a:pt x="1002" y="697"/>
                  <a:pt x="1002" y="697"/>
                </a:cubicBezTo>
                <a:cubicBezTo>
                  <a:pt x="1000" y="694"/>
                  <a:pt x="1000" y="694"/>
                  <a:pt x="1000" y="694"/>
                </a:cubicBezTo>
                <a:cubicBezTo>
                  <a:pt x="991" y="692"/>
                  <a:pt x="991" y="692"/>
                  <a:pt x="991" y="692"/>
                </a:cubicBezTo>
                <a:cubicBezTo>
                  <a:pt x="983" y="685"/>
                  <a:pt x="983" y="685"/>
                  <a:pt x="983" y="685"/>
                </a:cubicBezTo>
                <a:cubicBezTo>
                  <a:pt x="984" y="682"/>
                  <a:pt x="984" y="682"/>
                  <a:pt x="984" y="682"/>
                </a:cubicBezTo>
                <a:cubicBezTo>
                  <a:pt x="982" y="679"/>
                  <a:pt x="982" y="679"/>
                  <a:pt x="982" y="679"/>
                </a:cubicBezTo>
                <a:cubicBezTo>
                  <a:pt x="976" y="677"/>
                  <a:pt x="976" y="677"/>
                  <a:pt x="976" y="677"/>
                </a:cubicBezTo>
                <a:cubicBezTo>
                  <a:pt x="974" y="676"/>
                  <a:pt x="974" y="676"/>
                  <a:pt x="974" y="676"/>
                </a:cubicBezTo>
                <a:cubicBezTo>
                  <a:pt x="968" y="675"/>
                  <a:pt x="968" y="675"/>
                  <a:pt x="968" y="675"/>
                </a:cubicBezTo>
                <a:cubicBezTo>
                  <a:pt x="968" y="675"/>
                  <a:pt x="968" y="675"/>
                  <a:pt x="968" y="675"/>
                </a:cubicBezTo>
                <a:cubicBezTo>
                  <a:pt x="968" y="675"/>
                  <a:pt x="967" y="675"/>
                  <a:pt x="967" y="675"/>
                </a:cubicBezTo>
                <a:cubicBezTo>
                  <a:pt x="968" y="672"/>
                  <a:pt x="968" y="672"/>
                  <a:pt x="968" y="672"/>
                </a:cubicBezTo>
                <a:cubicBezTo>
                  <a:pt x="967" y="672"/>
                  <a:pt x="967" y="672"/>
                  <a:pt x="967" y="672"/>
                </a:cubicBezTo>
                <a:cubicBezTo>
                  <a:pt x="967" y="673"/>
                  <a:pt x="967" y="673"/>
                  <a:pt x="967" y="673"/>
                </a:cubicBezTo>
                <a:cubicBezTo>
                  <a:pt x="967" y="672"/>
                  <a:pt x="966" y="672"/>
                  <a:pt x="966" y="671"/>
                </a:cubicBezTo>
                <a:cubicBezTo>
                  <a:pt x="963" y="671"/>
                  <a:pt x="963" y="671"/>
                  <a:pt x="963" y="671"/>
                </a:cubicBezTo>
                <a:cubicBezTo>
                  <a:pt x="958" y="669"/>
                  <a:pt x="958" y="669"/>
                  <a:pt x="958" y="669"/>
                </a:cubicBezTo>
                <a:cubicBezTo>
                  <a:pt x="959" y="668"/>
                  <a:pt x="958" y="667"/>
                  <a:pt x="957" y="667"/>
                </a:cubicBezTo>
                <a:cubicBezTo>
                  <a:pt x="957" y="667"/>
                  <a:pt x="956" y="667"/>
                  <a:pt x="956" y="667"/>
                </a:cubicBezTo>
                <a:cubicBezTo>
                  <a:pt x="955" y="668"/>
                  <a:pt x="955" y="668"/>
                  <a:pt x="955" y="668"/>
                </a:cubicBezTo>
                <a:cubicBezTo>
                  <a:pt x="949" y="665"/>
                  <a:pt x="949" y="665"/>
                  <a:pt x="949" y="665"/>
                </a:cubicBezTo>
                <a:cubicBezTo>
                  <a:pt x="947" y="662"/>
                  <a:pt x="947" y="662"/>
                  <a:pt x="947" y="662"/>
                </a:cubicBezTo>
                <a:cubicBezTo>
                  <a:pt x="944" y="662"/>
                  <a:pt x="944" y="662"/>
                  <a:pt x="944" y="662"/>
                </a:cubicBezTo>
                <a:cubicBezTo>
                  <a:pt x="942" y="659"/>
                  <a:pt x="942" y="659"/>
                  <a:pt x="942" y="659"/>
                </a:cubicBezTo>
                <a:cubicBezTo>
                  <a:pt x="942" y="659"/>
                  <a:pt x="941" y="659"/>
                  <a:pt x="941" y="658"/>
                </a:cubicBezTo>
                <a:cubicBezTo>
                  <a:pt x="941" y="658"/>
                  <a:pt x="941" y="658"/>
                  <a:pt x="941" y="657"/>
                </a:cubicBezTo>
                <a:cubicBezTo>
                  <a:pt x="934" y="655"/>
                  <a:pt x="934" y="655"/>
                  <a:pt x="934" y="655"/>
                </a:cubicBezTo>
                <a:cubicBezTo>
                  <a:pt x="928" y="655"/>
                  <a:pt x="928" y="655"/>
                  <a:pt x="928" y="655"/>
                </a:cubicBezTo>
                <a:cubicBezTo>
                  <a:pt x="929" y="663"/>
                  <a:pt x="929" y="663"/>
                  <a:pt x="929" y="663"/>
                </a:cubicBezTo>
                <a:cubicBezTo>
                  <a:pt x="924" y="657"/>
                  <a:pt x="924" y="657"/>
                  <a:pt x="924" y="657"/>
                </a:cubicBezTo>
                <a:cubicBezTo>
                  <a:pt x="919" y="658"/>
                  <a:pt x="919" y="658"/>
                  <a:pt x="919" y="658"/>
                </a:cubicBezTo>
                <a:cubicBezTo>
                  <a:pt x="914" y="654"/>
                  <a:pt x="914" y="654"/>
                  <a:pt x="914" y="654"/>
                </a:cubicBezTo>
                <a:cubicBezTo>
                  <a:pt x="914" y="652"/>
                  <a:pt x="914" y="651"/>
                  <a:pt x="911" y="651"/>
                </a:cubicBezTo>
                <a:cubicBezTo>
                  <a:pt x="911" y="651"/>
                  <a:pt x="910" y="650"/>
                  <a:pt x="910" y="649"/>
                </a:cubicBezTo>
                <a:cubicBezTo>
                  <a:pt x="909" y="649"/>
                  <a:pt x="908" y="648"/>
                  <a:pt x="906" y="648"/>
                </a:cubicBezTo>
                <a:cubicBezTo>
                  <a:pt x="900" y="642"/>
                  <a:pt x="900" y="642"/>
                  <a:pt x="900" y="642"/>
                </a:cubicBezTo>
                <a:cubicBezTo>
                  <a:pt x="896" y="642"/>
                  <a:pt x="896" y="642"/>
                  <a:pt x="896" y="642"/>
                </a:cubicBezTo>
                <a:cubicBezTo>
                  <a:pt x="895" y="635"/>
                  <a:pt x="895" y="635"/>
                  <a:pt x="895" y="635"/>
                </a:cubicBezTo>
                <a:cubicBezTo>
                  <a:pt x="900" y="628"/>
                  <a:pt x="900" y="628"/>
                  <a:pt x="900" y="628"/>
                </a:cubicBezTo>
                <a:cubicBezTo>
                  <a:pt x="901" y="621"/>
                  <a:pt x="901" y="621"/>
                  <a:pt x="901" y="621"/>
                </a:cubicBezTo>
                <a:cubicBezTo>
                  <a:pt x="904" y="619"/>
                  <a:pt x="904" y="619"/>
                  <a:pt x="904" y="619"/>
                </a:cubicBezTo>
                <a:cubicBezTo>
                  <a:pt x="908" y="619"/>
                  <a:pt x="908" y="619"/>
                  <a:pt x="908" y="619"/>
                </a:cubicBezTo>
                <a:cubicBezTo>
                  <a:pt x="910" y="618"/>
                  <a:pt x="910" y="616"/>
                  <a:pt x="908" y="612"/>
                </a:cubicBezTo>
                <a:cubicBezTo>
                  <a:pt x="911" y="613"/>
                  <a:pt x="911" y="613"/>
                  <a:pt x="911" y="613"/>
                </a:cubicBezTo>
                <a:cubicBezTo>
                  <a:pt x="914" y="605"/>
                  <a:pt x="914" y="605"/>
                  <a:pt x="914" y="605"/>
                </a:cubicBezTo>
                <a:cubicBezTo>
                  <a:pt x="910" y="599"/>
                  <a:pt x="910" y="599"/>
                  <a:pt x="910" y="599"/>
                </a:cubicBezTo>
                <a:cubicBezTo>
                  <a:pt x="908" y="597"/>
                  <a:pt x="908" y="597"/>
                  <a:pt x="908" y="597"/>
                </a:cubicBezTo>
                <a:cubicBezTo>
                  <a:pt x="909" y="594"/>
                  <a:pt x="909" y="594"/>
                  <a:pt x="909" y="594"/>
                </a:cubicBezTo>
                <a:cubicBezTo>
                  <a:pt x="913" y="594"/>
                  <a:pt x="913" y="594"/>
                  <a:pt x="913" y="594"/>
                </a:cubicBezTo>
                <a:cubicBezTo>
                  <a:pt x="912" y="592"/>
                  <a:pt x="912" y="592"/>
                  <a:pt x="912" y="592"/>
                </a:cubicBezTo>
                <a:cubicBezTo>
                  <a:pt x="917" y="588"/>
                  <a:pt x="917" y="588"/>
                  <a:pt x="917" y="588"/>
                </a:cubicBezTo>
                <a:cubicBezTo>
                  <a:pt x="921" y="583"/>
                  <a:pt x="921" y="583"/>
                  <a:pt x="921" y="583"/>
                </a:cubicBezTo>
                <a:cubicBezTo>
                  <a:pt x="921" y="578"/>
                  <a:pt x="921" y="578"/>
                  <a:pt x="921" y="578"/>
                </a:cubicBezTo>
                <a:cubicBezTo>
                  <a:pt x="918" y="575"/>
                  <a:pt x="918" y="575"/>
                  <a:pt x="918" y="575"/>
                </a:cubicBezTo>
                <a:cubicBezTo>
                  <a:pt x="918" y="571"/>
                  <a:pt x="918" y="571"/>
                  <a:pt x="918" y="571"/>
                </a:cubicBezTo>
                <a:cubicBezTo>
                  <a:pt x="920" y="570"/>
                  <a:pt x="920" y="570"/>
                  <a:pt x="920" y="570"/>
                </a:cubicBezTo>
                <a:cubicBezTo>
                  <a:pt x="921" y="567"/>
                  <a:pt x="921" y="567"/>
                  <a:pt x="921" y="567"/>
                </a:cubicBezTo>
                <a:cubicBezTo>
                  <a:pt x="927" y="567"/>
                  <a:pt x="927" y="567"/>
                  <a:pt x="927" y="567"/>
                </a:cubicBezTo>
                <a:cubicBezTo>
                  <a:pt x="932" y="563"/>
                  <a:pt x="932" y="563"/>
                  <a:pt x="932" y="563"/>
                </a:cubicBezTo>
                <a:cubicBezTo>
                  <a:pt x="934" y="556"/>
                  <a:pt x="934" y="556"/>
                  <a:pt x="934" y="556"/>
                </a:cubicBezTo>
                <a:cubicBezTo>
                  <a:pt x="937" y="554"/>
                  <a:pt x="937" y="554"/>
                  <a:pt x="937" y="554"/>
                </a:cubicBezTo>
                <a:cubicBezTo>
                  <a:pt x="941" y="555"/>
                  <a:pt x="941" y="555"/>
                  <a:pt x="941" y="555"/>
                </a:cubicBezTo>
                <a:cubicBezTo>
                  <a:pt x="944" y="551"/>
                  <a:pt x="944" y="551"/>
                  <a:pt x="944" y="551"/>
                </a:cubicBezTo>
                <a:cubicBezTo>
                  <a:pt x="947" y="551"/>
                  <a:pt x="947" y="551"/>
                  <a:pt x="947" y="551"/>
                </a:cubicBezTo>
                <a:cubicBezTo>
                  <a:pt x="947" y="548"/>
                  <a:pt x="947" y="548"/>
                  <a:pt x="947" y="548"/>
                </a:cubicBezTo>
                <a:cubicBezTo>
                  <a:pt x="951" y="544"/>
                  <a:pt x="951" y="544"/>
                  <a:pt x="951" y="544"/>
                </a:cubicBezTo>
                <a:cubicBezTo>
                  <a:pt x="956" y="542"/>
                  <a:pt x="956" y="542"/>
                  <a:pt x="956" y="542"/>
                </a:cubicBezTo>
                <a:cubicBezTo>
                  <a:pt x="956" y="539"/>
                  <a:pt x="956" y="539"/>
                  <a:pt x="956" y="539"/>
                </a:cubicBezTo>
                <a:lnTo>
                  <a:pt x="959" y="535"/>
                </a:lnTo>
                <a:close/>
              </a:path>
            </a:pathLst>
          </a:custGeom>
          <a:solidFill>
            <a:schemeClr val="accent1"/>
          </a:solidFill>
          <a:ln w="6350">
            <a:noFill/>
            <a:prstDash val="solid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DE369D2E-E5EC-CE51-ACD4-80545395E59A}"/>
              </a:ext>
            </a:extLst>
          </p:cNvPr>
          <p:cNvSpPr/>
          <p:nvPr/>
        </p:nvSpPr>
        <p:spPr>
          <a:xfrm>
            <a:off x="6275267" y="2989779"/>
            <a:ext cx="184935" cy="205484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88CC91-4B30-1857-946A-8DFD19D5F2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9254"/>
          <a:stretch/>
        </p:blipFill>
        <p:spPr>
          <a:xfrm>
            <a:off x="8554870" y="4584060"/>
            <a:ext cx="2286000" cy="1712818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0A25C43-6DE8-318F-5DFC-5CFF866296B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401" b="11279"/>
          <a:stretch/>
        </p:blipFill>
        <p:spPr>
          <a:xfrm>
            <a:off x="8554870" y="2789050"/>
            <a:ext cx="2286000" cy="1644466"/>
          </a:xfrm>
          <a:prstGeom prst="rect">
            <a:avLst/>
          </a:prstGeom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77F434D2-272B-5E23-03FC-0E7ADBFB3FEF}"/>
              </a:ext>
            </a:extLst>
          </p:cNvPr>
          <p:cNvSpPr/>
          <p:nvPr/>
        </p:nvSpPr>
        <p:spPr>
          <a:xfrm>
            <a:off x="7945892" y="1487277"/>
            <a:ext cx="3520068" cy="4891221"/>
          </a:xfrm>
          <a:prstGeom prst="wedgeRoundRectCallout">
            <a:avLst>
              <a:gd name="adj1" fmla="val -89419"/>
              <a:gd name="adj2" fmla="val -17428"/>
              <a:gd name="adj3" fmla="val 16667"/>
            </a:avLst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u="sng">
                <a:solidFill>
                  <a:schemeClr val="accent1"/>
                </a:solidFill>
                <a:latin typeface="+mj-lt"/>
              </a:rPr>
              <a:t>Connectivity to </a:t>
            </a:r>
            <a:r>
              <a:rPr lang="en-US" sz="1600" b="1" u="sng" err="1">
                <a:solidFill>
                  <a:schemeClr val="accent1"/>
                </a:solidFill>
                <a:latin typeface="+mj-lt"/>
              </a:rPr>
              <a:t>Sarnath</a:t>
            </a:r>
            <a:r>
              <a:rPr lang="en-US" sz="1600" b="1">
                <a:solidFill>
                  <a:schemeClr val="accent1"/>
                </a:solidFill>
                <a:latin typeface="+mj-lt"/>
              </a:rPr>
              <a:t>:</a:t>
            </a:r>
            <a:r>
              <a:rPr lang="en-US" sz="1600">
                <a:solidFill>
                  <a:schemeClr val="tx1"/>
                </a:solidFill>
                <a:latin typeface="+mj-lt"/>
              </a:rPr>
              <a:t> Varanasi Ring Road (NH-31, BM-I</a:t>
            </a:r>
            <a:r>
              <a:rPr lang="en-US" sz="1600" baseline="30000">
                <a:solidFill>
                  <a:schemeClr val="tx1"/>
                </a:solidFill>
                <a:latin typeface="+mj-lt"/>
              </a:rPr>
              <a:t>1</a:t>
            </a:r>
            <a:r>
              <a:rPr lang="en-US" sz="1600">
                <a:solidFill>
                  <a:schemeClr val="tx1"/>
                </a:solidFill>
                <a:latin typeface="+mj-lt"/>
              </a:rPr>
              <a:t>) only 1.5km away </a:t>
            </a:r>
            <a:r>
              <a:rPr lang="en-US" sz="1600" i="1">
                <a:solidFill>
                  <a:schemeClr val="tx1"/>
                </a:solidFill>
                <a:latin typeface="+mj-lt"/>
              </a:rPr>
              <a:t>(Completed on 24</a:t>
            </a:r>
            <a:r>
              <a:rPr lang="en-US" sz="1600" i="1" baseline="30000">
                <a:solidFill>
                  <a:schemeClr val="tx1"/>
                </a:solidFill>
                <a:latin typeface="+mj-lt"/>
              </a:rPr>
              <a:t>th</a:t>
            </a:r>
            <a:r>
              <a:rPr lang="en-US" sz="1600" i="1">
                <a:solidFill>
                  <a:schemeClr val="tx1"/>
                </a:solidFill>
                <a:latin typeface="+mj-lt"/>
              </a:rPr>
              <a:t> Jan 2022)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52F871-630D-5D77-DA6E-4CCC7F614615}"/>
              </a:ext>
            </a:extLst>
          </p:cNvPr>
          <p:cNvPicPr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12810" y="2355657"/>
            <a:ext cx="2286000" cy="16444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EA78B8C-35F9-FD7C-25BE-F1965A29C33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112810" y="4170237"/>
            <a:ext cx="2286000" cy="1644466"/>
          </a:xfrm>
          <a:prstGeom prst="rect">
            <a:avLst/>
          </a:prstGeom>
        </p:spPr>
      </p:pic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70E171B7-3DB9-272A-83FA-16B4D3551579}"/>
              </a:ext>
            </a:extLst>
          </p:cNvPr>
          <p:cNvSpPr/>
          <p:nvPr/>
        </p:nvSpPr>
        <p:spPr>
          <a:xfrm>
            <a:off x="5259102" y="3626773"/>
            <a:ext cx="184935" cy="205484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DB964BAA-7A48-93F5-629F-4C1BA48FAC44}"/>
              </a:ext>
            </a:extLst>
          </p:cNvPr>
          <p:cNvSpPr/>
          <p:nvPr/>
        </p:nvSpPr>
        <p:spPr>
          <a:xfrm>
            <a:off x="495776" y="1090255"/>
            <a:ext cx="3520068" cy="4808740"/>
          </a:xfrm>
          <a:prstGeom prst="wedgeRoundRectCallout">
            <a:avLst>
              <a:gd name="adj1" fmla="val 83857"/>
              <a:gd name="adj2" fmla="val 7017"/>
              <a:gd name="adj3" fmla="val 16667"/>
            </a:avLst>
          </a:prstGeom>
          <a:noFill/>
          <a:ln w="381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u="sng">
                <a:solidFill>
                  <a:schemeClr val="accent1"/>
                </a:solidFill>
                <a:latin typeface="+mj-lt"/>
              </a:rPr>
              <a:t>Connectivity to </a:t>
            </a:r>
            <a:r>
              <a:rPr lang="en-US" sz="1600" b="1" u="sng" err="1">
                <a:solidFill>
                  <a:schemeClr val="accent1"/>
                </a:solidFill>
                <a:latin typeface="+mj-lt"/>
              </a:rPr>
              <a:t>Daulatabad</a:t>
            </a:r>
            <a:r>
              <a:rPr lang="en-US" sz="1600" b="1" u="sng">
                <a:solidFill>
                  <a:schemeClr val="accent1"/>
                </a:solidFill>
                <a:latin typeface="+mj-lt"/>
              </a:rPr>
              <a:t> Fort</a:t>
            </a:r>
            <a:r>
              <a:rPr lang="en-US" sz="1600" b="1">
                <a:solidFill>
                  <a:schemeClr val="accent1"/>
                </a:solidFill>
                <a:latin typeface="+mj-lt"/>
              </a:rPr>
              <a:t>:</a:t>
            </a:r>
            <a:r>
              <a:rPr lang="en-US" sz="1600">
                <a:solidFill>
                  <a:schemeClr val="accent1"/>
                </a:solidFill>
                <a:latin typeface="+mj-lt"/>
              </a:rPr>
              <a:t> </a:t>
            </a:r>
          </a:p>
          <a:p>
            <a:pPr algn="ctr"/>
            <a:r>
              <a:rPr lang="en-US" sz="1600">
                <a:solidFill>
                  <a:schemeClr val="tx1"/>
                </a:solidFill>
                <a:latin typeface="+mj-lt"/>
              </a:rPr>
              <a:t>Direct connectivity to NH-52 </a:t>
            </a:r>
            <a:r>
              <a:rPr lang="en-US" sz="1600" i="1">
                <a:solidFill>
                  <a:schemeClr val="tx1"/>
                </a:solidFill>
                <a:latin typeface="+mj-lt"/>
              </a:rPr>
              <a:t>(Completed on 1</a:t>
            </a:r>
            <a:r>
              <a:rPr lang="en-US" sz="1600" i="1" baseline="30000">
                <a:solidFill>
                  <a:schemeClr val="tx1"/>
                </a:solidFill>
                <a:latin typeface="+mj-lt"/>
              </a:rPr>
              <a:t>st</a:t>
            </a:r>
            <a:r>
              <a:rPr lang="en-US" sz="1600" i="1">
                <a:solidFill>
                  <a:schemeClr val="tx1"/>
                </a:solidFill>
                <a:latin typeface="+mj-lt"/>
              </a:rPr>
              <a:t> Feb 2022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841AECB-442A-413C-06E7-D5DFDA864F53}"/>
              </a:ext>
            </a:extLst>
          </p:cNvPr>
          <p:cNvSpPr/>
          <p:nvPr/>
        </p:nvSpPr>
        <p:spPr>
          <a:xfrm>
            <a:off x="415229" y="6247838"/>
            <a:ext cx="8378825" cy="381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>
              <a:lnSpc>
                <a:spcPct val="90000"/>
              </a:lnSpc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1. BM-I – </a:t>
            </a:r>
            <a:r>
              <a:rPr lang="en-US" sz="700" err="1">
                <a:solidFill>
                  <a:schemeClr val="tx1"/>
                </a:solidFill>
                <a:latin typeface="Arial" panose="020B0604020202020204" pitchFamily="34" charset="0"/>
              </a:rPr>
              <a:t>Bharatmala</a:t>
            </a: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US" sz="700" err="1">
                <a:solidFill>
                  <a:schemeClr val="tx1"/>
                </a:solidFill>
                <a:latin typeface="Arial" panose="020B0604020202020204" pitchFamily="34" charset="0"/>
              </a:rPr>
              <a:t>Pariyojana</a:t>
            </a: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</a:rPr>
              <a:t> Phase I</a:t>
            </a:r>
          </a:p>
        </p:txBody>
      </p:sp>
    </p:spTree>
    <p:extLst>
      <p:ext uri="{BB962C8B-B14F-4D97-AF65-F5344CB8AC3E}">
        <p14:creationId xmlns:p14="http://schemas.microsoft.com/office/powerpoint/2010/main" val="1475681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902A87B-A55E-D284-C4DA-E827E838A2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14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902A87B-A55E-D284-C4DA-E827E838A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8446549-C460-45A3-9AEF-55A9FB0F9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362" y="3068305"/>
            <a:ext cx="6705600" cy="1213672"/>
          </a:xfrm>
        </p:spPr>
        <p:txBody>
          <a:bodyPr vert="horz"/>
          <a:lstStyle/>
          <a:p>
            <a:r>
              <a:rPr lang="en-US" sz="2400"/>
              <a:t>Development of Way Side Amenities</a:t>
            </a:r>
            <a:endParaRPr lang="en-GB" sz="24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54C3A7-BEB3-496C-A821-C60C1ED53D7A}"/>
              </a:ext>
            </a:extLst>
          </p:cNvPr>
          <p:cNvGrpSpPr/>
          <p:nvPr/>
        </p:nvGrpSpPr>
        <p:grpSpPr>
          <a:xfrm>
            <a:off x="617704" y="3305809"/>
            <a:ext cx="564164" cy="411882"/>
            <a:chOff x="387933" y="5699374"/>
            <a:chExt cx="768011" cy="47818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322F961-1D38-499C-A540-D40C4213BF5D}"/>
                </a:ext>
              </a:extLst>
            </p:cNvPr>
            <p:cNvSpPr/>
            <p:nvPr/>
          </p:nvSpPr>
          <p:spPr>
            <a:xfrm>
              <a:off x="387933" y="5699374"/>
              <a:ext cx="726239" cy="428783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marL="55561" marR="0" lvl="0" indent="0" algn="l" defTabSz="914377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02</a:t>
              </a: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58AE28A-138A-41FE-A89C-8244A86839D8}"/>
                </a:ext>
              </a:extLst>
            </p:cNvPr>
            <p:cNvCxnSpPr>
              <a:cxnSpLocks/>
            </p:cNvCxnSpPr>
            <p:nvPr/>
          </p:nvCxnSpPr>
          <p:spPr>
            <a:xfrm>
              <a:off x="413333" y="6177556"/>
              <a:ext cx="742611" cy="0"/>
            </a:xfrm>
            <a:prstGeom prst="line">
              <a:avLst/>
            </a:prstGeom>
            <a:noFill/>
            <a:ln w="38100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63677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472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D2EE86-8FEE-06A3-A9D1-E36FD04D012C}"/>
              </a:ext>
            </a:extLst>
          </p:cNvPr>
          <p:cNvSpPr/>
          <p:nvPr/>
        </p:nvSpPr>
        <p:spPr>
          <a:xfrm>
            <a:off x="0" y="6121519"/>
            <a:ext cx="12192000" cy="4749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Till date, 156 sites awarded for development of WSAs, of which 38 have been operationalized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6ECE16EE-2373-A21C-8F27-6A393087FDB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862" t="7388" r="2546" b="9508"/>
          <a:stretch/>
        </p:blipFill>
        <p:spPr>
          <a:xfrm>
            <a:off x="2114295" y="920991"/>
            <a:ext cx="4599021" cy="5202171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/>
              <a:t>Development opportunity across India – ~600 WSA site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9DE7052B-CFE5-D667-073A-B7A8D94D3C16}"/>
              </a:ext>
            </a:extLst>
          </p:cNvPr>
          <p:cNvSpPr/>
          <p:nvPr/>
        </p:nvSpPr>
        <p:spPr>
          <a:xfrm>
            <a:off x="762000" y="1358903"/>
            <a:ext cx="10668000" cy="4876800"/>
          </a:xfrm>
          <a:prstGeom prst="roundRect">
            <a:avLst>
              <a:gd name="adj" fmla="val 2805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lvl="1">
              <a:lnSpc>
                <a:spcPct val="90000"/>
              </a:lnSpc>
              <a:spcBef>
                <a:spcPts val="500"/>
              </a:spcBef>
              <a:spcAft>
                <a:spcPts val="600"/>
              </a:spcAft>
            </a:pPr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61A137F-B65F-9FAA-1CCC-AB55519C717F}"/>
              </a:ext>
            </a:extLst>
          </p:cNvPr>
          <p:cNvSpPr/>
          <p:nvPr/>
        </p:nvSpPr>
        <p:spPr>
          <a:xfrm>
            <a:off x="4348612" y="5229153"/>
            <a:ext cx="113855" cy="110170"/>
          </a:xfrm>
          <a:prstGeom prst="ellipse">
            <a:avLst/>
          </a:prstGeom>
          <a:solidFill>
            <a:srgbClr val="C00000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>
              <a:solidFill>
                <a:schemeClr val="lt1">
                  <a:alpha val="61000"/>
                </a:schemeClr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772D6EA-EEAE-0762-ED57-20A395071FC3}"/>
              </a:ext>
            </a:extLst>
          </p:cNvPr>
          <p:cNvSpPr/>
          <p:nvPr/>
        </p:nvSpPr>
        <p:spPr>
          <a:xfrm>
            <a:off x="4522580" y="5056150"/>
            <a:ext cx="15638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>
                <a:latin typeface="Univers 55" panose="02000000000000000000" pitchFamily="2" charset="0"/>
              </a:rPr>
              <a:t>Proposed Sites for Development of WSA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403EF0A-7958-DD58-16FB-7BDB6269CB02}"/>
              </a:ext>
            </a:extLst>
          </p:cNvPr>
          <p:cNvSpPr/>
          <p:nvPr/>
        </p:nvSpPr>
        <p:spPr>
          <a:xfrm>
            <a:off x="8397433" y="1585731"/>
            <a:ext cx="3032567" cy="1400537"/>
          </a:xfrm>
          <a:prstGeom prst="rect">
            <a:avLst/>
          </a:prstGeom>
          <a:solidFill>
            <a:schemeClr val="accent3"/>
          </a:solidFill>
          <a:ln>
            <a:solidFill>
              <a:srgbClr val="3B2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Brownfield Site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88CB76C-ECE3-ABFA-92BC-8BF0E81C0715}"/>
              </a:ext>
            </a:extLst>
          </p:cNvPr>
          <p:cNvSpPr/>
          <p:nvPr/>
        </p:nvSpPr>
        <p:spPr>
          <a:xfrm>
            <a:off x="8397433" y="3790574"/>
            <a:ext cx="3032567" cy="1400537"/>
          </a:xfrm>
          <a:prstGeom prst="rect">
            <a:avLst/>
          </a:prstGeom>
          <a:solidFill>
            <a:schemeClr val="accent2"/>
          </a:solidFill>
          <a:ln>
            <a:solidFill>
              <a:srgbClr val="3B2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/>
              <a:t>Greenfield Site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AB5715A-9CF3-FDD4-0B3A-691B1DA138D5}"/>
              </a:ext>
            </a:extLst>
          </p:cNvPr>
          <p:cNvSpPr/>
          <p:nvPr/>
        </p:nvSpPr>
        <p:spPr>
          <a:xfrm>
            <a:off x="7176304" y="1585731"/>
            <a:ext cx="1221129" cy="1400537"/>
          </a:xfrm>
          <a:prstGeom prst="rect">
            <a:avLst/>
          </a:prstGeom>
          <a:solidFill>
            <a:schemeClr val="bg1"/>
          </a:solidFill>
          <a:ln>
            <a:solidFill>
              <a:srgbClr val="3B2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>
                <a:solidFill>
                  <a:schemeClr val="tx1"/>
                </a:solidFill>
              </a:rPr>
              <a:t>246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CD0AA05-CD26-0E82-FBA6-80E98D78F9ED}"/>
              </a:ext>
            </a:extLst>
          </p:cNvPr>
          <p:cNvSpPr/>
          <p:nvPr/>
        </p:nvSpPr>
        <p:spPr>
          <a:xfrm>
            <a:off x="7176304" y="3790574"/>
            <a:ext cx="1221129" cy="1400537"/>
          </a:xfrm>
          <a:prstGeom prst="rect">
            <a:avLst/>
          </a:prstGeom>
          <a:solidFill>
            <a:schemeClr val="bg1"/>
          </a:solidFill>
          <a:ln>
            <a:solidFill>
              <a:srgbClr val="3B20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>
                <a:solidFill>
                  <a:schemeClr val="tx1"/>
                </a:solidFill>
              </a:rPr>
              <a:t>347</a:t>
            </a:r>
          </a:p>
        </p:txBody>
      </p:sp>
      <p:sp>
        <p:nvSpPr>
          <p:cNvPr id="256" name="Action Button: Go Forward or Next 255">
            <a:hlinkClick r:id="rId7" action="ppaction://hlinksldjump" highlightClick="1"/>
            <a:extLst>
              <a:ext uri="{FF2B5EF4-FFF2-40B4-BE49-F238E27FC236}">
                <a16:creationId xmlns:a16="http://schemas.microsoft.com/office/drawing/2014/main" id="{CCCEF7AC-66BB-5750-AE58-30713443C99D}"/>
              </a:ext>
            </a:extLst>
          </p:cNvPr>
          <p:cNvSpPr/>
          <p:nvPr/>
        </p:nvSpPr>
        <p:spPr>
          <a:xfrm>
            <a:off x="11546758" y="2630113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Action Button: Go Forward or Next 256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id="{2F418579-94C5-6B69-183C-7BAD0B94F429}"/>
              </a:ext>
            </a:extLst>
          </p:cNvPr>
          <p:cNvSpPr/>
          <p:nvPr/>
        </p:nvSpPr>
        <p:spPr>
          <a:xfrm>
            <a:off x="11546758" y="4834956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ction Button: Go Forward or Next 2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3CC99CBC-120C-4FAE-A735-979232A0CC62}"/>
              </a:ext>
            </a:extLst>
          </p:cNvPr>
          <p:cNvSpPr/>
          <p:nvPr/>
        </p:nvSpPr>
        <p:spPr>
          <a:xfrm>
            <a:off x="11179575" y="6166674"/>
            <a:ext cx="346229" cy="356155"/>
          </a:xfrm>
          <a:prstGeom prst="actionButtonForwardNex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267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0551EE7-639B-4D90-8C14-A40F63A0AA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85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0551EE7-639B-4D90-8C14-A40F63A0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13E76E4C-A34D-4BC2-9A79-FE6D9FD5D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894" y="111301"/>
            <a:ext cx="11081426" cy="786122"/>
          </a:xfrm>
        </p:spPr>
        <p:txBody>
          <a:bodyPr vert="horz" anchor="ctr"/>
          <a:lstStyle/>
          <a:p>
            <a:r>
              <a:rPr lang="en-US" sz="2000">
                <a:latin typeface="+mn-lt"/>
              </a:rPr>
              <a:t>Mandatory &amp; Permissible Facilities in Way Side Amenities</a:t>
            </a:r>
          </a:p>
        </p:txBody>
      </p:sp>
      <p:sp>
        <p:nvSpPr>
          <p:cNvPr id="2" name="Rounded Rectangle 11">
            <a:extLst>
              <a:ext uri="{FF2B5EF4-FFF2-40B4-BE49-F238E27FC236}">
                <a16:creationId xmlns:a16="http://schemas.microsoft.com/office/drawing/2014/main" id="{108543D2-DB05-0AFB-4C1E-C913DC0BBCBC}"/>
              </a:ext>
            </a:extLst>
          </p:cNvPr>
          <p:cNvSpPr/>
          <p:nvPr/>
        </p:nvSpPr>
        <p:spPr>
          <a:xfrm>
            <a:off x="4308650" y="1951952"/>
            <a:ext cx="3809365" cy="4190776"/>
          </a:xfrm>
          <a:prstGeom prst="roundRect">
            <a:avLst>
              <a:gd name="adj" fmla="val 10000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6428375"/>
              <a:satOff val="1741"/>
              <a:lumOff val="19706"/>
              <a:alphaOff val="0"/>
            </a:schemeClr>
          </a:fillRef>
          <a:effectRef idx="0">
            <a:schemeClr val="accent2">
              <a:hueOff val="6428375"/>
              <a:satOff val="1741"/>
              <a:lumOff val="1970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" name="Rounded Rectangle 23">
            <a:extLst>
              <a:ext uri="{FF2B5EF4-FFF2-40B4-BE49-F238E27FC236}">
                <a16:creationId xmlns:a16="http://schemas.microsoft.com/office/drawing/2014/main" id="{671DEE5B-5701-C1C2-9A54-FB5CBA2E2F97}"/>
              </a:ext>
            </a:extLst>
          </p:cNvPr>
          <p:cNvSpPr/>
          <p:nvPr/>
        </p:nvSpPr>
        <p:spPr>
          <a:xfrm>
            <a:off x="372257" y="1042641"/>
            <a:ext cx="3744474" cy="824459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Source Sans Pro" panose="020B0503030403020204" pitchFamily="34" charset="0"/>
              </a:rPr>
              <a:t>Passenger</a:t>
            </a:r>
            <a:r>
              <a:rPr kumimoji="0" lang="en-US" sz="2000" b="1" i="0" u="none" strike="noStrike" kern="1200" cap="none" spc="0" normalizeH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Source Sans Pro" panose="020B0503030403020204" pitchFamily="34" charset="0"/>
              </a:rPr>
              <a:t> Car Amenity</a:t>
            </a:r>
            <a:endParaRPr kumimoji="0" lang="en-IN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Source Sans Pro" panose="020B0503030403020204" pitchFamily="34" charset="0"/>
            </a:endParaRPr>
          </a:p>
        </p:txBody>
      </p:sp>
      <p:sp>
        <p:nvSpPr>
          <p:cNvPr id="4" name="Rounded Rectangle 6">
            <a:extLst>
              <a:ext uri="{FF2B5EF4-FFF2-40B4-BE49-F238E27FC236}">
                <a16:creationId xmlns:a16="http://schemas.microsoft.com/office/drawing/2014/main" id="{A68B9D42-ABCE-92A0-A813-5314CDC83659}"/>
              </a:ext>
            </a:extLst>
          </p:cNvPr>
          <p:cNvSpPr/>
          <p:nvPr/>
        </p:nvSpPr>
        <p:spPr>
          <a:xfrm>
            <a:off x="4336685" y="1036659"/>
            <a:ext cx="3781330" cy="824459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FFFFFF"/>
                </a:solidFill>
                <a:ea typeface="Source Sans Pro" panose="020B0503030403020204" pitchFamily="34" charset="0"/>
              </a:rPr>
              <a:t>Trucker’s Amenity</a:t>
            </a:r>
            <a:endParaRPr lang="en-IN" sz="2000" b="1">
              <a:solidFill>
                <a:srgbClr val="FFFFFF"/>
              </a:solidFill>
              <a:ea typeface="Source Sans Pro" panose="020B0503030403020204" pitchFamily="34" charset="0"/>
            </a:endParaRPr>
          </a:p>
        </p:txBody>
      </p:sp>
      <p:sp>
        <p:nvSpPr>
          <p:cNvPr id="5" name="Rounded Rectangle 11">
            <a:extLst>
              <a:ext uri="{FF2B5EF4-FFF2-40B4-BE49-F238E27FC236}">
                <a16:creationId xmlns:a16="http://schemas.microsoft.com/office/drawing/2014/main" id="{B281B564-69E8-A63A-3E57-9B797AA6C2B0}"/>
              </a:ext>
            </a:extLst>
          </p:cNvPr>
          <p:cNvSpPr/>
          <p:nvPr/>
        </p:nvSpPr>
        <p:spPr>
          <a:xfrm>
            <a:off x="307365" y="1951952"/>
            <a:ext cx="3809365" cy="4190776"/>
          </a:xfrm>
          <a:prstGeom prst="roundRect">
            <a:avLst>
              <a:gd name="adj" fmla="val 10000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6428375"/>
              <a:satOff val="1741"/>
              <a:lumOff val="19706"/>
              <a:alphaOff val="0"/>
            </a:schemeClr>
          </a:fillRef>
          <a:effectRef idx="0">
            <a:schemeClr val="accent2">
              <a:hueOff val="6428375"/>
              <a:satOff val="1741"/>
              <a:lumOff val="1970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Rounded Rectangle 4">
            <a:extLst>
              <a:ext uri="{FF2B5EF4-FFF2-40B4-BE49-F238E27FC236}">
                <a16:creationId xmlns:a16="http://schemas.microsoft.com/office/drawing/2014/main" id="{36929A55-C462-5FE0-288E-583909FD5F58}"/>
              </a:ext>
            </a:extLst>
          </p:cNvPr>
          <p:cNvSpPr txBox="1"/>
          <p:nvPr/>
        </p:nvSpPr>
        <p:spPr>
          <a:xfrm>
            <a:off x="445683" y="2043107"/>
            <a:ext cx="4031446" cy="409962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/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Food Court, Kiosks, Restaurants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Convenience Store/Shops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Toilet / Washroom Facility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Drinking Water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Parking (4W &amp; Bus) &amp; EV Charge Station</a:t>
            </a:r>
          </a:p>
          <a:p>
            <a:pPr marL="285750" lvl="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Children’s Play area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Village </a:t>
            </a:r>
            <a:r>
              <a:rPr lang="en-US" sz="1600" b="1" err="1">
                <a:solidFill>
                  <a:schemeClr val="accent1"/>
                </a:solidFill>
                <a:ea typeface="Source Sans Pro" panose="020B0503030403020204" pitchFamily="34" charset="0"/>
              </a:rPr>
              <a:t>Haat</a:t>
            </a:r>
            <a:endParaRPr lang="en-US" sz="1600" b="1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Fuel Station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 b="1" kern="1200">
                <a:solidFill>
                  <a:schemeClr val="accent1"/>
                </a:solidFill>
                <a:ea typeface="Source Sans Pro" panose="020B0503030403020204" pitchFamily="34" charset="0"/>
              </a:rPr>
              <a:t>Medical Facility/ Pharmacy/ Baby care, </a:t>
            </a: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ATM facility</a:t>
            </a:r>
          </a:p>
          <a:p>
            <a: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Emergency Room/ Care Center</a:t>
            </a:r>
          </a:p>
          <a:p>
            <a:pPr marL="285750" lvl="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Car Mechanic/ Car Wash</a:t>
            </a:r>
          </a:p>
          <a:p>
            <a:pPr marL="285750" lvl="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</a:rPr>
              <a:t>Motel/Convention Centre</a:t>
            </a:r>
          </a:p>
        </p:txBody>
      </p:sp>
      <p:sp>
        <p:nvSpPr>
          <p:cNvPr id="7" name="Rounded Rectangle 4">
            <a:extLst>
              <a:ext uri="{FF2B5EF4-FFF2-40B4-BE49-F238E27FC236}">
                <a16:creationId xmlns:a16="http://schemas.microsoft.com/office/drawing/2014/main" id="{A765CC10-C524-0245-DB37-CB37A2D32957}"/>
              </a:ext>
            </a:extLst>
          </p:cNvPr>
          <p:cNvSpPr txBox="1"/>
          <p:nvPr/>
        </p:nvSpPr>
        <p:spPr>
          <a:xfrm>
            <a:off x="4336684" y="2043108"/>
            <a:ext cx="3612852" cy="26490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>
            <a:defPPr>
              <a:defRPr lang="en-US"/>
            </a:defPPr>
            <a:lvl1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 sz="1600" b="1">
                <a:solidFill>
                  <a:schemeClr val="tx2">
                    <a:lumMod val="50000"/>
                  </a:schemeClr>
                </a:solidFill>
                <a:latin typeface="Univers" panose="020B0503020202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>
                <a:solidFill>
                  <a:schemeClr val="accent1"/>
                </a:solidFill>
                <a:latin typeface="+mn-lt"/>
              </a:rPr>
              <a:t>Dhabas for Truckers</a:t>
            </a: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Convenience Store/Shops</a:t>
            </a: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Toilet / Washroom Facility</a:t>
            </a: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Drinking Water</a:t>
            </a: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Truck Parking </a:t>
            </a:r>
            <a:r>
              <a:rPr lang="en-US" sz="1600" b="1">
                <a:solidFill>
                  <a:schemeClr val="accent1"/>
                </a:solidFill>
                <a:ea typeface="Source Sans Pro" panose="020B0503030403020204" pitchFamily="34" charset="0"/>
              </a:rPr>
              <a:t>&amp; EV </a:t>
            </a:r>
            <a:r>
              <a:rPr lang="en-US" sz="1600" b="1" err="1">
                <a:solidFill>
                  <a:schemeClr val="accent1"/>
                </a:solidFill>
                <a:ea typeface="Source Sans Pro" panose="020B0503030403020204" pitchFamily="34" charset="0"/>
              </a:rPr>
              <a:t>Chargnig</a:t>
            </a:r>
            <a:endParaRPr lang="en-US" sz="1600" b="1">
              <a:solidFill>
                <a:schemeClr val="accent1"/>
              </a:solidFill>
              <a:ea typeface="Source Sans Pro" panose="020B0503030403020204" pitchFamily="34" charset="0"/>
            </a:endParaRP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Village </a:t>
            </a:r>
            <a:r>
              <a:rPr lang="en-US" err="1">
                <a:solidFill>
                  <a:schemeClr val="accent1"/>
                </a:solidFill>
                <a:latin typeface="+mn-lt"/>
              </a:rPr>
              <a:t>Haat</a:t>
            </a:r>
            <a:endParaRPr lang="en-US">
              <a:solidFill>
                <a:schemeClr val="accent1"/>
              </a:solidFill>
              <a:latin typeface="+mn-lt"/>
            </a:endParaRP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Fuel Station</a:t>
            </a:r>
          </a:p>
          <a:p>
            <a:r>
              <a:rPr lang="en-US">
                <a:solidFill>
                  <a:schemeClr val="accent1"/>
                </a:solidFill>
                <a:latin typeface="+mn-lt"/>
              </a:rPr>
              <a:t>Medical Facility/ Pharmacy, ATM</a:t>
            </a:r>
          </a:p>
          <a:p>
            <a:r>
              <a:rPr lang="en-US" b="0">
                <a:latin typeface="+mn-lt"/>
              </a:rPr>
              <a:t>Dormitory for Drivers</a:t>
            </a:r>
          </a:p>
          <a:p>
            <a:r>
              <a:rPr lang="en-US" b="0">
                <a:latin typeface="+mn-lt"/>
              </a:rPr>
              <a:t>Car Mechanic/ Car Wash</a:t>
            </a:r>
          </a:p>
          <a:p>
            <a:r>
              <a:rPr lang="en-US" b="0">
                <a:latin typeface="+mn-lt"/>
              </a:rPr>
              <a:t>Self Laundry &amp; Cooking facility for Truckers</a:t>
            </a:r>
          </a:p>
          <a:p>
            <a:r>
              <a:rPr lang="en-US" b="0">
                <a:latin typeface="+mn-lt"/>
              </a:rPr>
              <a:t>Vehicle Repair Shop</a:t>
            </a:r>
          </a:p>
        </p:txBody>
      </p:sp>
      <p:sp>
        <p:nvSpPr>
          <p:cNvPr id="8" name="Rounded Rectangle 19">
            <a:extLst>
              <a:ext uri="{FF2B5EF4-FFF2-40B4-BE49-F238E27FC236}">
                <a16:creationId xmlns:a16="http://schemas.microsoft.com/office/drawing/2014/main" id="{7E50E057-2A78-3FE9-540D-4B2E549C7D13}"/>
              </a:ext>
            </a:extLst>
          </p:cNvPr>
          <p:cNvSpPr/>
          <p:nvPr/>
        </p:nvSpPr>
        <p:spPr>
          <a:xfrm>
            <a:off x="8221139" y="1036659"/>
            <a:ext cx="3781330" cy="824459"/>
          </a:xfrm>
          <a:prstGeom prst="round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rgbClr val="FFFFFF"/>
                </a:solidFill>
                <a:ea typeface="Source Sans Pro" panose="020B0503030403020204" pitchFamily="34" charset="0"/>
              </a:rPr>
              <a:t>Site Development </a:t>
            </a:r>
            <a:endParaRPr lang="en-IN" sz="2000" b="1">
              <a:solidFill>
                <a:srgbClr val="FFFFFF"/>
              </a:solidFill>
              <a:ea typeface="Source Sans Pro" panose="020B0503030403020204" pitchFamily="34" charset="0"/>
            </a:endParaRPr>
          </a:p>
        </p:txBody>
      </p:sp>
      <p:sp>
        <p:nvSpPr>
          <p:cNvPr id="9" name="Rounded Rectangle 11">
            <a:extLst>
              <a:ext uri="{FF2B5EF4-FFF2-40B4-BE49-F238E27FC236}">
                <a16:creationId xmlns:a16="http://schemas.microsoft.com/office/drawing/2014/main" id="{83F8BD85-61B0-0A26-F1D8-5E1AABC77964}"/>
              </a:ext>
            </a:extLst>
          </p:cNvPr>
          <p:cNvSpPr/>
          <p:nvPr/>
        </p:nvSpPr>
        <p:spPr>
          <a:xfrm>
            <a:off x="8193103" y="1951951"/>
            <a:ext cx="3809365" cy="4190775"/>
          </a:xfrm>
          <a:prstGeom prst="roundRect">
            <a:avLst>
              <a:gd name="adj" fmla="val 10000"/>
            </a:avLst>
          </a:prstGeom>
          <a:solidFill>
            <a:schemeClr val="accent3">
              <a:lumMod val="60000"/>
              <a:lumOff val="40000"/>
              <a:alpha val="27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6428375"/>
              <a:satOff val="1741"/>
              <a:lumOff val="19706"/>
              <a:alphaOff val="0"/>
            </a:schemeClr>
          </a:fillRef>
          <a:effectRef idx="0">
            <a:schemeClr val="accent2">
              <a:hueOff val="6428375"/>
              <a:satOff val="1741"/>
              <a:lumOff val="19706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" name="Rounded Rectangle 4">
            <a:extLst>
              <a:ext uri="{FF2B5EF4-FFF2-40B4-BE49-F238E27FC236}">
                <a16:creationId xmlns:a16="http://schemas.microsoft.com/office/drawing/2014/main" id="{3B7A0FAF-7B1B-4DCE-363B-6AE4AAB74817}"/>
              </a:ext>
            </a:extLst>
          </p:cNvPr>
          <p:cNvSpPr txBox="1"/>
          <p:nvPr/>
        </p:nvSpPr>
        <p:spPr>
          <a:xfrm>
            <a:off x="8335088" y="2043107"/>
            <a:ext cx="3667381" cy="201856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t" anchorCtr="0">
            <a:noAutofit/>
          </a:bodyPr>
          <a:lstStyle>
            <a:defPPr>
              <a:defRPr lang="en-US"/>
            </a:defPPr>
            <a:lvl1pPr marL="285750" indent="-28575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 sz="1600" b="1">
                <a:solidFill>
                  <a:schemeClr val="tx2">
                    <a:lumMod val="50000"/>
                  </a:schemeClr>
                </a:solidFill>
                <a:latin typeface="Univers" panose="020B0503020202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b="0">
                <a:solidFill>
                  <a:schemeClr val="tx1"/>
                </a:solidFill>
                <a:latin typeface="+mn-lt"/>
              </a:rPr>
              <a:t>Landscaping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Open Gym &amp; Open rest area with benches and tables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High Mast Lightings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Entry / Exit markings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Road markings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Signage's (Emergency &amp; Advertisement) 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24X7 Security / Camera’s</a:t>
            </a:r>
          </a:p>
          <a:p>
            <a:r>
              <a:rPr lang="en-US" b="0">
                <a:solidFill>
                  <a:schemeClr val="tx1"/>
                </a:solidFill>
                <a:latin typeface="+mn-lt"/>
              </a:rPr>
              <a:t>Emergency Room</a:t>
            </a:r>
          </a:p>
          <a:p>
            <a:endParaRPr lang="en-US" b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AF1BC0-5480-7463-F8C4-8C0FAAEAF219}"/>
              </a:ext>
            </a:extLst>
          </p:cNvPr>
          <p:cNvSpPr/>
          <p:nvPr/>
        </p:nvSpPr>
        <p:spPr>
          <a:xfrm>
            <a:off x="10083195" y="357781"/>
            <a:ext cx="190308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chemeClr val="accent1"/>
                </a:solidFill>
              </a:rPr>
              <a:t>Mandatory Facilities</a:t>
            </a:r>
          </a:p>
          <a:p>
            <a:r>
              <a:rPr lang="en-US" sz="1400">
                <a:solidFill>
                  <a:schemeClr val="tx2">
                    <a:lumMod val="50000"/>
                  </a:schemeClr>
                </a:solidFill>
              </a:rPr>
              <a:t>Permissible Facilities</a:t>
            </a:r>
          </a:p>
        </p:txBody>
      </p:sp>
    </p:spTree>
    <p:extLst>
      <p:ext uri="{BB962C8B-B14F-4D97-AF65-F5344CB8AC3E}">
        <p14:creationId xmlns:p14="http://schemas.microsoft.com/office/powerpoint/2010/main" val="507640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.IeHHJdEUf.mT3ZX0B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gzYdhJpvZdHZ48M9Cu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b2ylmpwweWKpGv7ZVc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1KVhTsAF_7bJqASvxn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qbs7O_k2YpUcbR2uI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zC14WX7UZAy0zGsryV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T.QOgyeJNf.h0YE66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fScSHtTjwqjGX7Kv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GAVsXVSOiEuccHvnIe7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6/07/18 12:07:06 A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6/07/18 12:07:06 A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ZRxNLtusT3d_5u10wpc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uK_NVdnevqJTNIgb6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Bwx279F.br06KtZMum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q5GkxbIBxn2OrHssu2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EAROOne_pNx61KceaU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RrDpm7cM7nfIc1IGOz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I0zPLbXujzfMLe0kF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CkcSgsvEYCLkKP_kVh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0YifwHxzc.kT_lRBV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K9uRyQNmF2TWb1h3sa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r5G6j9FmxJS1NCL5hc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BvRQTN1NoCKfYHkZHe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0gNnVR45SP752x2Pa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X.ngQN3a3qDgIUUkFV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wlMNk1lc48ZsglknPY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I8p_mEDbMN8pmsYjjK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hiXmftu3DM_.2q3_TN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8Q9xxd9BiVa_.aKSPf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69hUGrI5V_yPeIjb_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BgK6LYD.Y4OBtMLioDQ"/>
</p:tagLst>
</file>

<file path=ppt/theme/theme1.xml><?xml version="1.0" encoding="utf-8"?>
<a:theme xmlns:a="http://schemas.openxmlformats.org/drawingml/2006/main" name="Kearney Report Template">
  <a:themeElements>
    <a:clrScheme name="Kearney">
      <a:dk1>
        <a:srgbClr val="1E1E1E"/>
      </a:dk1>
      <a:lt1>
        <a:srgbClr val="FFFFFF"/>
      </a:lt1>
      <a:dk2>
        <a:srgbClr val="7823DC"/>
      </a:dk2>
      <a:lt2>
        <a:srgbClr val="F5F5F5"/>
      </a:lt2>
      <a:accent1>
        <a:srgbClr val="D2D2D2"/>
      </a:accent1>
      <a:accent2>
        <a:srgbClr val="A5A5A5"/>
      </a:accent2>
      <a:accent3>
        <a:srgbClr val="787878"/>
      </a:accent3>
      <a:accent4>
        <a:srgbClr val="E6D2FA"/>
      </a:accent4>
      <a:accent5>
        <a:srgbClr val="C8A5F0"/>
      </a:accent5>
      <a:accent6>
        <a:srgbClr val="AF7DEB"/>
      </a:accent6>
      <a:hlink>
        <a:srgbClr val="1D1D1D"/>
      </a:hlink>
      <a:folHlink>
        <a:srgbClr val="1D1D1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9" tIns="72009" rIns="72009" bIns="72009" rtlCol="0" anchor="t"/>
      <a:lstStyle>
        <a:defPPr algn="l">
          <a:lnSpc>
            <a:spcPct val="9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CBAF91FC-DA7A-44C5-9C0E-D0AB2D99FF52}" vid="{D0537F04-A238-4482-BEC3-ED049BED08EB}"/>
    </a:ext>
  </a:extLst>
</a:theme>
</file>

<file path=ppt/theme/theme2.xml><?xml version="1.0" encoding="utf-8"?>
<a:theme xmlns:a="http://schemas.openxmlformats.org/drawingml/2006/main" name="kearney">
  <a:themeElements>
    <a:clrScheme name="DMEO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B2082"/>
      </a:accent1>
      <a:accent2>
        <a:srgbClr val="6AA84F"/>
      </a:accent2>
      <a:accent3>
        <a:srgbClr val="B3A77D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MEO_Presentation Template_v0.1.potx" id="{DACA7C2F-3248-423A-82B7-1FA9EA874CAA}" vid="{7D6694F0-D6B0-4BE9-B04E-9F7026A247E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d5f536d-df50-40a5-a66f-a93768efec3f">
      <UserInfo>
        <DisplayName>Goyal, Jiggar</DisplayName>
        <AccountId>129</AccountId>
        <AccountType/>
      </UserInfo>
    </SharedWithUsers>
    <TaxCatchAll xmlns="3d5f536d-df50-40a5-a66f-a93768efec3f" xsi:nil="true"/>
    <lcf76f155ced4ddcb4097134ff3c332f xmlns="ac578431-35c3-48ab-9539-ba5d319ac3b7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F55C01296E704E99736F1B8FB6F3A6" ma:contentTypeVersion="16" ma:contentTypeDescription="Create a new document." ma:contentTypeScope="" ma:versionID="77264b1d4b519ee8ba07db0b5bda0bc8">
  <xsd:schema xmlns:xsd="http://www.w3.org/2001/XMLSchema" xmlns:xs="http://www.w3.org/2001/XMLSchema" xmlns:p="http://schemas.microsoft.com/office/2006/metadata/properties" xmlns:ns2="ac578431-35c3-48ab-9539-ba5d319ac3b7" xmlns:ns3="3d5f536d-df50-40a5-a66f-a93768efec3f" targetNamespace="http://schemas.microsoft.com/office/2006/metadata/properties" ma:root="true" ma:fieldsID="5af1a75be991b813f954760f0328aca2" ns2:_="" ns3:_="">
    <xsd:import namespace="ac578431-35c3-48ab-9539-ba5d319ac3b7"/>
    <xsd:import namespace="3d5f536d-df50-40a5-a66f-a93768efec3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578431-35c3-48ab-9539-ba5d319ac3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c350327-7f8b-4e4c-9470-6526d29b83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5f536d-df50-40a5-a66f-a93768efec3f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8804ef92-7686-4865-8959-3f5343e7d46a}" ma:internalName="TaxCatchAll" ma:showField="CatchAllData" ma:web="3d5f536d-df50-40a5-a66f-a93768efec3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EF2E5EA-2A40-4B44-957A-DC71D1B832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3DC16F-0ECA-4357-AF81-A8381DCAFF4F}">
  <ds:schemaRefs>
    <ds:schemaRef ds:uri="3d5f536d-df50-40a5-a66f-a93768efec3f"/>
    <ds:schemaRef ds:uri="51c77c7a-11a9-4474-a6d3-407f31b373ba"/>
    <ds:schemaRef ds:uri="ac578431-35c3-48ab-9539-ba5d319ac3b7"/>
    <ds:schemaRef ds:uri="c277ab01-515a-413b-978a-9e84a3558f3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9A6CB33-6FF3-4F95-B436-39A1C6285852}">
  <ds:schemaRefs>
    <ds:schemaRef ds:uri="3d5f536d-df50-40a5-a66f-a93768efec3f"/>
    <ds:schemaRef ds:uri="ac578431-35c3-48ab-9539-ba5d319ac3b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</TotalTime>
  <Words>2395</Words>
  <Application>Microsoft Office PowerPoint</Application>
  <PresentationFormat>Widescreen</PresentationFormat>
  <Paragraphs>835</Paragraphs>
  <Slides>3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8" baseType="lpstr">
      <vt:lpstr>Arial</vt:lpstr>
      <vt:lpstr>Arial Black</vt:lpstr>
      <vt:lpstr>Calibri</vt:lpstr>
      <vt:lpstr>System Font Regular</vt:lpstr>
      <vt:lpstr>Univers</vt:lpstr>
      <vt:lpstr>Univers 55</vt:lpstr>
      <vt:lpstr>Wingdings</vt:lpstr>
      <vt:lpstr>Kearney Report Template</vt:lpstr>
      <vt:lpstr>kearney</vt:lpstr>
      <vt:lpstr>think-cell Slide</vt:lpstr>
      <vt:lpstr>PowerPoint Presentation</vt:lpstr>
      <vt:lpstr>Agenda</vt:lpstr>
      <vt:lpstr>Providing Connectivity to Tourist Destinations</vt:lpstr>
      <vt:lpstr>Projects Completed/ Being Undertaken by MoRT&amp;H in 50 tourist destinations (Phase – 1)</vt:lpstr>
      <vt:lpstr>Projects Completed/ Being Undertaken by MoRT&amp;H in 50 tourist destinations (Phase – 2)</vt:lpstr>
      <vt:lpstr>PowerPoint Presentation</vt:lpstr>
      <vt:lpstr>Development of Way Side Amenities</vt:lpstr>
      <vt:lpstr>Development opportunity across India – ~600 WSA sites</vt:lpstr>
      <vt:lpstr>Mandatory &amp; Permissible Facilities in Way Side Amenities</vt:lpstr>
      <vt:lpstr>Operationalized WSA at Indore, Madhya Pradesh</vt:lpstr>
      <vt:lpstr>Roles and Responsibilities of Different Parties</vt:lpstr>
      <vt:lpstr>PowerPoint Presentation</vt:lpstr>
      <vt:lpstr>Letter received from Ministry of Tourism on 28th January 2020 with regards to 50 tourist destinations</vt:lpstr>
      <vt:lpstr>PowerPoint Presentation</vt:lpstr>
      <vt:lpstr>State-wise distribution of MoRT&amp;H projects aiding tourism – Phase 1 tourist destinations (1/2)</vt:lpstr>
      <vt:lpstr>State-wise distribution of MoRT&amp;H projects aiding tourism – Phase 1 tourist destinations (2/2)</vt:lpstr>
      <vt:lpstr>State-wise distribution of MoRT&amp;H projects aiding tourism – Phase 2 tourist destinations (1/2)</vt:lpstr>
      <vt:lpstr>State-wise distribution of MoRT&amp;H projects aiding tourism – Phase 2 tourist destinations (2/2)</vt:lpstr>
      <vt:lpstr>Connectivity to Buddhist Circuit Locations – Uttar Pradesh (1/2)</vt:lpstr>
      <vt:lpstr>Connectivity to Buddhist Circuit Locations – Uttar Pradesh (2/2)</vt:lpstr>
      <vt:lpstr>Connectivity to Buddhist Circuit Locations – Bihar</vt:lpstr>
      <vt:lpstr>Distribution of 347 WSAs across Greenfield Expressways</vt:lpstr>
      <vt:lpstr>State-wise Distribution of 347 WSAs across Greenfield Expressways</vt:lpstr>
      <vt:lpstr>State-wise Distribution of 246 WSAs across Brownfield NH</vt:lpstr>
      <vt:lpstr>List of Awarded Way Side Amenity Sites (1/8)</vt:lpstr>
      <vt:lpstr>List of Awarded Way Side Amenity Sites (2/8)</vt:lpstr>
      <vt:lpstr>List of Awarded Way Side Amenity Sites (3/8)</vt:lpstr>
      <vt:lpstr>List of Awarded Way Side Amenity Sites (4/8)</vt:lpstr>
      <vt:lpstr>List of Awarded Way Side Amenity Sites (5/8)</vt:lpstr>
      <vt:lpstr>List of Awarded Way Side Amenity Sites (6/8)</vt:lpstr>
      <vt:lpstr>List of Awarded Way Side Amenity Sites (7/8)</vt:lpstr>
      <vt:lpstr>List of Awarded Way Side Amenity Sites (8/8)</vt:lpstr>
      <vt:lpstr>List of Operationalized Way Side Amenities (1/3)</vt:lpstr>
      <vt:lpstr>List of Operationalized Way Side Amenities (2/3)</vt:lpstr>
      <vt:lpstr>List of Operationalized Way Side Amenities (3/3)</vt:lpstr>
      <vt:lpstr>Standard Layout Plans designed for Wayside Amenities – 6 Ha.</vt:lpstr>
      <vt:lpstr>Standard Layout Plans designed for Wayside Amenities – 2 Ha.</vt:lpstr>
      <vt:lpstr>Bidding Parameters for Award/Development of Si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tch 1: Pinjoli - Nafra Arunachal Pradesh (138 km), NHAI</dc:title>
  <dc:creator>Ms, Rutvi</dc:creator>
  <cp:lastModifiedBy>Lakhanpal, Shrey</cp:lastModifiedBy>
  <cp:revision>1</cp:revision>
  <dcterms:created xsi:type="dcterms:W3CDTF">2022-11-28T07:41:29Z</dcterms:created>
  <dcterms:modified xsi:type="dcterms:W3CDTF">2023-03-28T14:3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2-11-28T07:41:30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5b1a41b4-698b-493f-be8d-5514f7a85594</vt:lpwstr>
  </property>
  <property fmtid="{D5CDD505-2E9C-101B-9397-08002B2CF9AE}" pid="8" name="MSIP_Label_0e815a84-bb14-486b-9367-c1af54c95fa4_ContentBits">
    <vt:lpwstr>0</vt:lpwstr>
  </property>
  <property fmtid="{D5CDD505-2E9C-101B-9397-08002B2CF9AE}" pid="9" name="ContentTypeId">
    <vt:lpwstr>0x01010006F55C01296E704E99736F1B8FB6F3A6</vt:lpwstr>
  </property>
  <property fmtid="{D5CDD505-2E9C-101B-9397-08002B2CF9AE}" pid="10" name="MediaServiceImageTags">
    <vt:lpwstr/>
  </property>
</Properties>
</file>